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</p:sldMasterIdLst>
  <p:notesMasterIdLst>
    <p:notesMasterId r:id="rId107"/>
  </p:notesMasterIdLst>
  <p:sldIdLst>
    <p:sldId id="286" r:id="rId3"/>
    <p:sldId id="1541" r:id="rId4"/>
    <p:sldId id="1570" r:id="rId5"/>
    <p:sldId id="1864" r:id="rId6"/>
    <p:sldId id="1934" r:id="rId7"/>
    <p:sldId id="2936" r:id="rId8"/>
    <p:sldId id="2937" r:id="rId9"/>
    <p:sldId id="2938" r:id="rId10"/>
    <p:sldId id="2939" r:id="rId11"/>
    <p:sldId id="2940" r:id="rId12"/>
    <p:sldId id="2941" r:id="rId13"/>
    <p:sldId id="2943" r:id="rId14"/>
    <p:sldId id="2944" r:id="rId15"/>
    <p:sldId id="2942" r:id="rId16"/>
    <p:sldId id="2945" r:id="rId17"/>
    <p:sldId id="1545" r:id="rId18"/>
    <p:sldId id="2946" r:id="rId19"/>
    <p:sldId id="2947" r:id="rId20"/>
    <p:sldId id="2948" r:id="rId21"/>
    <p:sldId id="2949" r:id="rId22"/>
    <p:sldId id="1546" r:id="rId23"/>
    <p:sldId id="1600" r:id="rId24"/>
    <p:sldId id="1607" r:id="rId25"/>
    <p:sldId id="1601" r:id="rId26"/>
    <p:sldId id="1606" r:id="rId27"/>
    <p:sldId id="1613" r:id="rId28"/>
    <p:sldId id="1608" r:id="rId29"/>
    <p:sldId id="1614" r:id="rId30"/>
    <p:sldId id="1615" r:id="rId31"/>
    <p:sldId id="1619" r:id="rId32"/>
    <p:sldId id="1612" r:id="rId33"/>
    <p:sldId id="1609" r:id="rId34"/>
    <p:sldId id="1503" r:id="rId35"/>
    <p:sldId id="1620" r:id="rId36"/>
    <p:sldId id="1584" r:id="rId37"/>
    <p:sldId id="1904" r:id="rId38"/>
    <p:sldId id="1586" r:id="rId39"/>
    <p:sldId id="1979" r:id="rId40"/>
    <p:sldId id="1510" r:id="rId41"/>
    <p:sldId id="1507" r:id="rId42"/>
    <p:sldId id="1509" r:id="rId43"/>
    <p:sldId id="288" r:id="rId44"/>
    <p:sldId id="1515" r:id="rId45"/>
    <p:sldId id="1513" r:id="rId46"/>
    <p:sldId id="1511" r:id="rId47"/>
    <p:sldId id="1580" r:id="rId48"/>
    <p:sldId id="1536" r:id="rId49"/>
    <p:sldId id="1547" r:id="rId50"/>
    <p:sldId id="1542" r:id="rId51"/>
    <p:sldId id="1610" r:id="rId52"/>
    <p:sldId id="1543" r:id="rId53"/>
    <p:sldId id="1544" r:id="rId54"/>
    <p:sldId id="1553" r:id="rId55"/>
    <p:sldId id="1902" r:id="rId56"/>
    <p:sldId id="1516" r:id="rId57"/>
    <p:sldId id="1517" r:id="rId58"/>
    <p:sldId id="1519" r:id="rId59"/>
    <p:sldId id="1520" r:id="rId60"/>
    <p:sldId id="1556" r:id="rId61"/>
    <p:sldId id="1527" r:id="rId62"/>
    <p:sldId id="1514" r:id="rId63"/>
    <p:sldId id="1622" r:id="rId64"/>
    <p:sldId id="2706" r:id="rId65"/>
    <p:sldId id="2910" r:id="rId66"/>
    <p:sldId id="2923" r:id="rId67"/>
    <p:sldId id="2928" r:id="rId68"/>
    <p:sldId id="2913" r:id="rId69"/>
    <p:sldId id="2912" r:id="rId70"/>
    <p:sldId id="2929" r:id="rId71"/>
    <p:sldId id="2915" r:id="rId72"/>
    <p:sldId id="2914" r:id="rId73"/>
    <p:sldId id="2916" r:id="rId74"/>
    <p:sldId id="2917" r:id="rId75"/>
    <p:sldId id="2918" r:id="rId76"/>
    <p:sldId id="2919" r:id="rId77"/>
    <p:sldId id="2920" r:id="rId78"/>
    <p:sldId id="2921" r:id="rId79"/>
    <p:sldId id="2922" r:id="rId80"/>
    <p:sldId id="2930" r:id="rId81"/>
    <p:sldId id="1563" r:id="rId82"/>
    <p:sldId id="1936" r:id="rId83"/>
    <p:sldId id="1955" r:id="rId84"/>
    <p:sldId id="1940" r:id="rId85"/>
    <p:sldId id="2931" r:id="rId86"/>
    <p:sldId id="1623" r:id="rId87"/>
    <p:sldId id="1973" r:id="rId88"/>
    <p:sldId id="1974" r:id="rId89"/>
    <p:sldId id="258" r:id="rId90"/>
    <p:sldId id="1964" r:id="rId91"/>
    <p:sldId id="1960" r:id="rId92"/>
    <p:sldId id="1959" r:id="rId93"/>
    <p:sldId id="1933" r:id="rId94"/>
    <p:sldId id="1917" r:id="rId95"/>
    <p:sldId id="1797" r:id="rId96"/>
    <p:sldId id="1963" r:id="rId97"/>
    <p:sldId id="2932" r:id="rId98"/>
    <p:sldId id="2933" r:id="rId99"/>
    <p:sldId id="1918" r:id="rId100"/>
    <p:sldId id="1919" r:id="rId101"/>
    <p:sldId id="1564" r:id="rId102"/>
    <p:sldId id="1882" r:id="rId103"/>
    <p:sldId id="1572" r:id="rId104"/>
    <p:sldId id="1972" r:id="rId105"/>
    <p:sldId id="1518" r:id="rId106"/>
  </p:sldIdLst>
  <p:sldSz cx="9144000" cy="5143500" type="screen16x9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708" autoAdjust="0"/>
    <p:restoredTop sz="93298" autoAdjust="0"/>
  </p:normalViewPr>
  <p:slideViewPr>
    <p:cSldViewPr>
      <p:cViewPr varScale="1">
        <p:scale>
          <a:sx n="60" d="100"/>
          <a:sy n="60" d="100"/>
        </p:scale>
        <p:origin x="46" y="353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-24492"/>
    </p:cViewPr>
  </p:sorterViewPr>
  <p:notesViewPr>
    <p:cSldViewPr>
      <p:cViewPr varScale="1">
        <p:scale>
          <a:sx n="56" d="100"/>
          <a:sy n="56" d="100"/>
        </p:scale>
        <p:origin x="-2838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16" Type="http://schemas.openxmlformats.org/officeDocument/2006/relationships/slide" Target="slides/slide14.xml"/><Relationship Id="rId107" Type="http://schemas.openxmlformats.org/officeDocument/2006/relationships/notesMaster" Target="notesMasters/notesMaster1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102" Type="http://schemas.openxmlformats.org/officeDocument/2006/relationships/slide" Target="slides/slide100.xml"/><Relationship Id="rId5" Type="http://schemas.openxmlformats.org/officeDocument/2006/relationships/slide" Target="slides/slide3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59" Type="http://schemas.openxmlformats.org/officeDocument/2006/relationships/slide" Target="slides/slide57.xml"/><Relationship Id="rId103" Type="http://schemas.openxmlformats.org/officeDocument/2006/relationships/slide" Target="slides/slide101.xml"/><Relationship Id="rId108" Type="http://schemas.openxmlformats.org/officeDocument/2006/relationships/presProps" Target="presProps.xml"/><Relationship Id="rId54" Type="http://schemas.openxmlformats.org/officeDocument/2006/relationships/slide" Target="slides/slide52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6" Type="http://schemas.openxmlformats.org/officeDocument/2006/relationships/slide" Target="slides/slide104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109" Type="http://schemas.openxmlformats.org/officeDocument/2006/relationships/viewProps" Target="viewProps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slide" Target="slides/slide102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110" Type="http://schemas.openxmlformats.org/officeDocument/2006/relationships/theme" Target="theme/theme1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slide" Target="slides/slide103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3" Type="http://schemas.openxmlformats.org/officeDocument/2006/relationships/slide" Target="slides/slide1.xml"/><Relationship Id="rId25" Type="http://schemas.openxmlformats.org/officeDocument/2006/relationships/slide" Target="slides/slide23.xml"/><Relationship Id="rId46" Type="http://schemas.openxmlformats.org/officeDocument/2006/relationships/slide" Target="slides/slide44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62" Type="http://schemas.openxmlformats.org/officeDocument/2006/relationships/slide" Target="slides/slide60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111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image" Target="../media/image79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image" Target="../media/image7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C6F19B2-BCBE-4CD2-A92A-549DDB904C58}" type="doc">
      <dgm:prSet loTypeId="urn:microsoft.com/office/officeart/2005/8/layout/pList2" loCatId="list" qsTypeId="urn:microsoft.com/office/officeart/2005/8/quickstyle/simple1" qsCatId="simple" csTypeId="urn:microsoft.com/office/officeart/2005/8/colors/accent1_2" csCatId="accent1" phldr="1"/>
      <dgm:spPr/>
    </dgm:pt>
    <dgm:pt modelId="{E87BD04C-0924-4B40-8CC2-CE38542BA5EF}">
      <dgm:prSet phldrT="[Текст]" custT="1"/>
      <dgm:spPr/>
      <dgm:t>
        <a:bodyPr/>
        <a:lstStyle/>
        <a:p>
          <a:r>
            <a:rPr lang="ru-RU" sz="1800" b="1" dirty="0">
              <a:solidFill>
                <a:schemeClr val="bg1"/>
              </a:solidFill>
            </a:rPr>
            <a:t>1 этап. </a:t>
          </a:r>
          <a:r>
            <a:rPr lang="ru-RU" sz="1600" b="1" dirty="0">
              <a:solidFill>
                <a:schemeClr val="bg1"/>
              </a:solidFill>
            </a:rPr>
            <a:t>Программа повышения квалификации в формате «смешанного обучения»</a:t>
          </a:r>
        </a:p>
      </dgm:t>
    </dgm:pt>
    <dgm:pt modelId="{0860E716-D82C-4225-B577-47C839FF17C6}" type="parTrans" cxnId="{B809FF38-9A7E-442D-B091-85A80415CE27}">
      <dgm:prSet/>
      <dgm:spPr/>
      <dgm:t>
        <a:bodyPr/>
        <a:lstStyle/>
        <a:p>
          <a:endParaRPr lang="ru-RU"/>
        </a:p>
      </dgm:t>
    </dgm:pt>
    <dgm:pt modelId="{79BD40E1-90C3-4D97-B36B-6D7CBF461E76}" type="sibTrans" cxnId="{B809FF38-9A7E-442D-B091-85A80415CE27}">
      <dgm:prSet/>
      <dgm:spPr/>
      <dgm:t>
        <a:bodyPr/>
        <a:lstStyle/>
        <a:p>
          <a:endParaRPr lang="ru-RU"/>
        </a:p>
      </dgm:t>
    </dgm:pt>
    <dgm:pt modelId="{1BFA84C3-CAF1-4020-962A-56E1E5C261DA}">
      <dgm:prSet phldrT="[Текст]" custT="1"/>
      <dgm:spPr/>
      <dgm:t>
        <a:bodyPr/>
        <a:lstStyle/>
        <a:p>
          <a:r>
            <a:rPr lang="ru-RU" sz="1600" b="1" dirty="0">
              <a:solidFill>
                <a:schemeClr val="bg1"/>
              </a:solidFill>
            </a:rPr>
            <a:t>2 этап.</a:t>
          </a:r>
        </a:p>
        <a:p>
          <a:r>
            <a:rPr lang="ru-RU" sz="1600" b="1" dirty="0">
              <a:solidFill>
                <a:schemeClr val="bg1"/>
              </a:solidFill>
            </a:rPr>
            <a:t>Подготовка и реализация  собственного проекта</a:t>
          </a:r>
        </a:p>
      </dgm:t>
    </dgm:pt>
    <dgm:pt modelId="{65F0162E-2816-499B-A0AA-2CDE21752511}" type="parTrans" cxnId="{505D888E-3618-4AEB-9B75-B66A96984F1E}">
      <dgm:prSet/>
      <dgm:spPr/>
      <dgm:t>
        <a:bodyPr/>
        <a:lstStyle/>
        <a:p>
          <a:endParaRPr lang="ru-RU"/>
        </a:p>
      </dgm:t>
    </dgm:pt>
    <dgm:pt modelId="{FA0A5FA0-911D-4F60-A07F-9F60401653DC}" type="sibTrans" cxnId="{505D888E-3618-4AEB-9B75-B66A96984F1E}">
      <dgm:prSet/>
      <dgm:spPr/>
      <dgm:t>
        <a:bodyPr/>
        <a:lstStyle/>
        <a:p>
          <a:endParaRPr lang="ru-RU"/>
        </a:p>
      </dgm:t>
    </dgm:pt>
    <dgm:pt modelId="{0AB5A966-C981-4BF2-A617-939D69C2BC8C}">
      <dgm:prSet phldrT="[Текст]" custT="1"/>
      <dgm:spPr/>
      <dgm:t>
        <a:bodyPr/>
        <a:lstStyle/>
        <a:p>
          <a:r>
            <a:rPr lang="ru-RU" sz="1600" b="1" dirty="0">
              <a:solidFill>
                <a:schemeClr val="bg1"/>
              </a:solidFill>
            </a:rPr>
            <a:t>3. Этап.</a:t>
          </a:r>
        </a:p>
        <a:p>
          <a:r>
            <a:rPr lang="ru-RU" sz="1600" b="1" dirty="0">
              <a:solidFill>
                <a:schemeClr val="bg1"/>
              </a:solidFill>
            </a:rPr>
            <a:t> Участие в конкурсе-фестивале </a:t>
          </a:r>
        </a:p>
        <a:p>
          <a:r>
            <a:rPr lang="ru-RU" sz="1600" b="1" dirty="0">
              <a:solidFill>
                <a:schemeClr val="bg1"/>
              </a:solidFill>
            </a:rPr>
            <a:t>«5 шагов к читающей школе»</a:t>
          </a:r>
        </a:p>
      </dgm:t>
    </dgm:pt>
    <dgm:pt modelId="{96DF495C-B222-4FFD-972D-5AF845D23E59}" type="parTrans" cxnId="{B2474F01-E7B3-48A6-818E-729BFBBBDD33}">
      <dgm:prSet/>
      <dgm:spPr/>
      <dgm:t>
        <a:bodyPr/>
        <a:lstStyle/>
        <a:p>
          <a:endParaRPr lang="ru-RU"/>
        </a:p>
      </dgm:t>
    </dgm:pt>
    <dgm:pt modelId="{6D85B4E3-6D0E-4372-9681-A283B02E9D37}" type="sibTrans" cxnId="{B2474F01-E7B3-48A6-818E-729BFBBBDD33}">
      <dgm:prSet/>
      <dgm:spPr/>
      <dgm:t>
        <a:bodyPr/>
        <a:lstStyle/>
        <a:p>
          <a:endParaRPr lang="ru-RU"/>
        </a:p>
      </dgm:t>
    </dgm:pt>
    <dgm:pt modelId="{28F08062-D66A-4FA5-BA44-B4868BB1858F}" type="pres">
      <dgm:prSet presAssocID="{1C6F19B2-BCBE-4CD2-A92A-549DDB904C58}" presName="Name0" presStyleCnt="0">
        <dgm:presLayoutVars>
          <dgm:dir/>
          <dgm:resizeHandles val="exact"/>
        </dgm:presLayoutVars>
      </dgm:prSet>
      <dgm:spPr/>
    </dgm:pt>
    <dgm:pt modelId="{07ADA8AC-A190-4358-9D70-580485FA9D4A}" type="pres">
      <dgm:prSet presAssocID="{1C6F19B2-BCBE-4CD2-A92A-549DDB904C58}" presName="bkgdShp" presStyleLbl="alignAccFollowNode1" presStyleIdx="0" presStyleCnt="1"/>
      <dgm:spPr/>
    </dgm:pt>
    <dgm:pt modelId="{D46BAD4D-6D53-4755-925A-B74040356E56}" type="pres">
      <dgm:prSet presAssocID="{1C6F19B2-BCBE-4CD2-A92A-549DDB904C58}" presName="linComp" presStyleCnt="0"/>
      <dgm:spPr/>
    </dgm:pt>
    <dgm:pt modelId="{6D7E4A0E-D9DF-4928-B810-B85C15CD3CF5}" type="pres">
      <dgm:prSet presAssocID="{E87BD04C-0924-4B40-8CC2-CE38542BA5EF}" presName="compNode" presStyleCnt="0"/>
      <dgm:spPr/>
    </dgm:pt>
    <dgm:pt modelId="{6B16D664-95D6-4021-802C-54FD12EAA080}" type="pres">
      <dgm:prSet presAssocID="{E87BD04C-0924-4B40-8CC2-CE38542BA5EF}" presName="node" presStyleLbl="node1" presStyleIdx="0" presStyleCnt="3" custScaleX="112443" custLinFactNeighborX="-12462" custLinFactNeighborY="-247">
        <dgm:presLayoutVars>
          <dgm:bulletEnabled val="1"/>
        </dgm:presLayoutVars>
      </dgm:prSet>
      <dgm:spPr/>
    </dgm:pt>
    <dgm:pt modelId="{9922C627-D3A1-40D0-A5B9-BB99DF75E10D}" type="pres">
      <dgm:prSet presAssocID="{E87BD04C-0924-4B40-8CC2-CE38542BA5EF}" presName="invisiNode" presStyleLbl="node1" presStyleIdx="0" presStyleCnt="3"/>
      <dgm:spPr/>
    </dgm:pt>
    <dgm:pt modelId="{231C18EE-CE74-4EBD-9CB5-F3003994B27E}" type="pres">
      <dgm:prSet presAssocID="{E87BD04C-0924-4B40-8CC2-CE38542BA5EF}" presName="imagNode" presStyleLbl="fgImgPlace1" presStyleIdx="0" presStyleCnt="3" custScaleY="151819" custLinFactNeighborX="-4913" custLinFactNeighborY="-34706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5E0DBC41-3ACA-44AC-9485-14742C55547C}" type="pres">
      <dgm:prSet presAssocID="{79BD40E1-90C3-4D97-B36B-6D7CBF461E76}" presName="sibTrans" presStyleLbl="sibTrans2D1" presStyleIdx="0" presStyleCnt="0"/>
      <dgm:spPr/>
    </dgm:pt>
    <dgm:pt modelId="{FCE6FEA9-4EAD-47CB-97D5-11680C0C631D}" type="pres">
      <dgm:prSet presAssocID="{1BFA84C3-CAF1-4020-962A-56E1E5C261DA}" presName="compNode" presStyleCnt="0"/>
      <dgm:spPr/>
    </dgm:pt>
    <dgm:pt modelId="{F701811F-4BB4-4B96-AA43-308DDC4D7666}" type="pres">
      <dgm:prSet presAssocID="{1BFA84C3-CAF1-4020-962A-56E1E5C261DA}" presName="node" presStyleLbl="node1" presStyleIdx="1" presStyleCnt="3" custScaleX="107164" custLinFactNeighborX="1691" custLinFactNeighborY="1536">
        <dgm:presLayoutVars>
          <dgm:bulletEnabled val="1"/>
        </dgm:presLayoutVars>
      </dgm:prSet>
      <dgm:spPr/>
    </dgm:pt>
    <dgm:pt modelId="{2152B903-4182-4F9D-9E70-D461D5252B9E}" type="pres">
      <dgm:prSet presAssocID="{1BFA84C3-CAF1-4020-962A-56E1E5C261DA}" presName="invisiNode" presStyleLbl="node1" presStyleIdx="1" presStyleCnt="3"/>
      <dgm:spPr/>
    </dgm:pt>
    <dgm:pt modelId="{D84B41C8-FEF9-4EFD-9AC5-7C95A9905365}" type="pres">
      <dgm:prSet presAssocID="{1BFA84C3-CAF1-4020-962A-56E1E5C261DA}" presName="imagNode" presStyleLbl="fgImgPlace1" presStyleIdx="1" presStyleCnt="3" custScaleX="111050" custScaleY="127812" custLinFactNeighborX="-832" custLinFactNeighborY="975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04F9AD81-FE04-4EB0-8140-446AA0D8FCCB}" type="pres">
      <dgm:prSet presAssocID="{FA0A5FA0-911D-4F60-A07F-9F60401653DC}" presName="sibTrans" presStyleLbl="sibTrans2D1" presStyleIdx="0" presStyleCnt="0"/>
      <dgm:spPr/>
    </dgm:pt>
    <dgm:pt modelId="{E311FC79-E732-4B94-B5C8-0A12E660798F}" type="pres">
      <dgm:prSet presAssocID="{0AB5A966-C981-4BF2-A617-939D69C2BC8C}" presName="compNode" presStyleCnt="0"/>
      <dgm:spPr/>
    </dgm:pt>
    <dgm:pt modelId="{64B02A3A-2769-41B8-82B3-3D279DB1F95F}" type="pres">
      <dgm:prSet presAssocID="{0AB5A966-C981-4BF2-A617-939D69C2BC8C}" presName="node" presStyleLbl="node1" presStyleIdx="2" presStyleCnt="3" custScaleX="115824" custLinFactNeighborX="15480" custLinFactNeighborY="-822">
        <dgm:presLayoutVars>
          <dgm:bulletEnabled val="1"/>
        </dgm:presLayoutVars>
      </dgm:prSet>
      <dgm:spPr/>
    </dgm:pt>
    <dgm:pt modelId="{754F75FF-04B7-45BA-A8C3-2443C51C87FA}" type="pres">
      <dgm:prSet presAssocID="{0AB5A966-C981-4BF2-A617-939D69C2BC8C}" presName="invisiNode" presStyleLbl="node1" presStyleIdx="2" presStyleCnt="3"/>
      <dgm:spPr/>
    </dgm:pt>
    <dgm:pt modelId="{DBE974D4-66B4-416F-9005-5F03B17DBAC8}" type="pres">
      <dgm:prSet presAssocID="{0AB5A966-C981-4BF2-A617-939D69C2BC8C}" presName="imagNode" presStyleLbl="fgImgPlace1" presStyleIdx="2" presStyleCnt="3" custScaleX="114330" custScaleY="111721" custLinFactNeighborX="6862" custLinFactNeighborY="-2338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</dgm:ptLst>
  <dgm:cxnLst>
    <dgm:cxn modelId="{B2474F01-E7B3-48A6-818E-729BFBBBDD33}" srcId="{1C6F19B2-BCBE-4CD2-A92A-549DDB904C58}" destId="{0AB5A966-C981-4BF2-A617-939D69C2BC8C}" srcOrd="2" destOrd="0" parTransId="{96DF495C-B222-4FFD-972D-5AF845D23E59}" sibTransId="{6D85B4E3-6D0E-4372-9681-A283B02E9D37}"/>
    <dgm:cxn modelId="{B809FF38-9A7E-442D-B091-85A80415CE27}" srcId="{1C6F19B2-BCBE-4CD2-A92A-549DDB904C58}" destId="{E87BD04C-0924-4B40-8CC2-CE38542BA5EF}" srcOrd="0" destOrd="0" parTransId="{0860E716-D82C-4225-B577-47C839FF17C6}" sibTransId="{79BD40E1-90C3-4D97-B36B-6D7CBF461E76}"/>
    <dgm:cxn modelId="{A143F145-42A9-447C-B8F6-F87FAD897368}" type="presOf" srcId="{1BFA84C3-CAF1-4020-962A-56E1E5C261DA}" destId="{F701811F-4BB4-4B96-AA43-308DDC4D7666}" srcOrd="0" destOrd="0" presId="urn:microsoft.com/office/officeart/2005/8/layout/pList2"/>
    <dgm:cxn modelId="{6FF7036D-E513-4B67-B9E1-04235571C3C4}" type="presOf" srcId="{E87BD04C-0924-4B40-8CC2-CE38542BA5EF}" destId="{6B16D664-95D6-4021-802C-54FD12EAA080}" srcOrd="0" destOrd="0" presId="urn:microsoft.com/office/officeart/2005/8/layout/pList2"/>
    <dgm:cxn modelId="{9C33F375-D080-4690-AC98-48A85CDB5E19}" type="presOf" srcId="{0AB5A966-C981-4BF2-A617-939D69C2BC8C}" destId="{64B02A3A-2769-41B8-82B3-3D279DB1F95F}" srcOrd="0" destOrd="0" presId="urn:microsoft.com/office/officeart/2005/8/layout/pList2"/>
    <dgm:cxn modelId="{505D888E-3618-4AEB-9B75-B66A96984F1E}" srcId="{1C6F19B2-BCBE-4CD2-A92A-549DDB904C58}" destId="{1BFA84C3-CAF1-4020-962A-56E1E5C261DA}" srcOrd="1" destOrd="0" parTransId="{65F0162E-2816-499B-A0AA-2CDE21752511}" sibTransId="{FA0A5FA0-911D-4F60-A07F-9F60401653DC}"/>
    <dgm:cxn modelId="{404FD7B1-CA79-4827-89E3-F6EE2A9ECA9E}" type="presOf" srcId="{1C6F19B2-BCBE-4CD2-A92A-549DDB904C58}" destId="{28F08062-D66A-4FA5-BA44-B4868BB1858F}" srcOrd="0" destOrd="0" presId="urn:microsoft.com/office/officeart/2005/8/layout/pList2"/>
    <dgm:cxn modelId="{7D0C64C2-7A34-41FB-9572-EC3CC1FA5703}" type="presOf" srcId="{79BD40E1-90C3-4D97-B36B-6D7CBF461E76}" destId="{5E0DBC41-3ACA-44AC-9485-14742C55547C}" srcOrd="0" destOrd="0" presId="urn:microsoft.com/office/officeart/2005/8/layout/pList2"/>
    <dgm:cxn modelId="{E0B9A0E4-03E1-4977-A53D-DC59E657E45E}" type="presOf" srcId="{FA0A5FA0-911D-4F60-A07F-9F60401653DC}" destId="{04F9AD81-FE04-4EB0-8140-446AA0D8FCCB}" srcOrd="0" destOrd="0" presId="urn:microsoft.com/office/officeart/2005/8/layout/pList2"/>
    <dgm:cxn modelId="{EE3F553A-7208-4947-A622-EF8AC6A49621}" type="presParOf" srcId="{28F08062-D66A-4FA5-BA44-B4868BB1858F}" destId="{07ADA8AC-A190-4358-9D70-580485FA9D4A}" srcOrd="0" destOrd="0" presId="urn:microsoft.com/office/officeart/2005/8/layout/pList2"/>
    <dgm:cxn modelId="{BAC04BB1-381B-431F-9A8B-3A0E1994023E}" type="presParOf" srcId="{28F08062-D66A-4FA5-BA44-B4868BB1858F}" destId="{D46BAD4D-6D53-4755-925A-B74040356E56}" srcOrd="1" destOrd="0" presId="urn:microsoft.com/office/officeart/2005/8/layout/pList2"/>
    <dgm:cxn modelId="{8C49AED9-71C5-4D61-9385-3BAA9DED6DA3}" type="presParOf" srcId="{D46BAD4D-6D53-4755-925A-B74040356E56}" destId="{6D7E4A0E-D9DF-4928-B810-B85C15CD3CF5}" srcOrd="0" destOrd="0" presId="urn:microsoft.com/office/officeart/2005/8/layout/pList2"/>
    <dgm:cxn modelId="{AACD3BAA-E5DC-471A-A209-16A271DB85A4}" type="presParOf" srcId="{6D7E4A0E-D9DF-4928-B810-B85C15CD3CF5}" destId="{6B16D664-95D6-4021-802C-54FD12EAA080}" srcOrd="0" destOrd="0" presId="urn:microsoft.com/office/officeart/2005/8/layout/pList2"/>
    <dgm:cxn modelId="{159E4F58-B793-4D77-96B9-C637E22BAB39}" type="presParOf" srcId="{6D7E4A0E-D9DF-4928-B810-B85C15CD3CF5}" destId="{9922C627-D3A1-40D0-A5B9-BB99DF75E10D}" srcOrd="1" destOrd="0" presId="urn:microsoft.com/office/officeart/2005/8/layout/pList2"/>
    <dgm:cxn modelId="{D2DEE36E-A605-48DF-B61A-7E24A5817F77}" type="presParOf" srcId="{6D7E4A0E-D9DF-4928-B810-B85C15CD3CF5}" destId="{231C18EE-CE74-4EBD-9CB5-F3003994B27E}" srcOrd="2" destOrd="0" presId="urn:microsoft.com/office/officeart/2005/8/layout/pList2"/>
    <dgm:cxn modelId="{4B640B38-989E-4609-B0B6-920B57ADB560}" type="presParOf" srcId="{D46BAD4D-6D53-4755-925A-B74040356E56}" destId="{5E0DBC41-3ACA-44AC-9485-14742C55547C}" srcOrd="1" destOrd="0" presId="urn:microsoft.com/office/officeart/2005/8/layout/pList2"/>
    <dgm:cxn modelId="{04AC5F10-88B8-4AF2-B614-F20310F0CF45}" type="presParOf" srcId="{D46BAD4D-6D53-4755-925A-B74040356E56}" destId="{FCE6FEA9-4EAD-47CB-97D5-11680C0C631D}" srcOrd="2" destOrd="0" presId="urn:microsoft.com/office/officeart/2005/8/layout/pList2"/>
    <dgm:cxn modelId="{558F8ACA-0FDE-4F06-AC1B-A25D73869F23}" type="presParOf" srcId="{FCE6FEA9-4EAD-47CB-97D5-11680C0C631D}" destId="{F701811F-4BB4-4B96-AA43-308DDC4D7666}" srcOrd="0" destOrd="0" presId="urn:microsoft.com/office/officeart/2005/8/layout/pList2"/>
    <dgm:cxn modelId="{03EC39CA-ECB6-46D3-82C7-9C2798DB56CB}" type="presParOf" srcId="{FCE6FEA9-4EAD-47CB-97D5-11680C0C631D}" destId="{2152B903-4182-4F9D-9E70-D461D5252B9E}" srcOrd="1" destOrd="0" presId="urn:microsoft.com/office/officeart/2005/8/layout/pList2"/>
    <dgm:cxn modelId="{62205C44-CD88-4294-B6C4-4EC362683877}" type="presParOf" srcId="{FCE6FEA9-4EAD-47CB-97D5-11680C0C631D}" destId="{D84B41C8-FEF9-4EFD-9AC5-7C95A9905365}" srcOrd="2" destOrd="0" presId="urn:microsoft.com/office/officeart/2005/8/layout/pList2"/>
    <dgm:cxn modelId="{AA2FF7F6-BE4B-4F40-91C0-41B98A76E500}" type="presParOf" srcId="{D46BAD4D-6D53-4755-925A-B74040356E56}" destId="{04F9AD81-FE04-4EB0-8140-446AA0D8FCCB}" srcOrd="3" destOrd="0" presId="urn:microsoft.com/office/officeart/2005/8/layout/pList2"/>
    <dgm:cxn modelId="{C18D1836-9531-4EAE-9574-FDD19AF42497}" type="presParOf" srcId="{D46BAD4D-6D53-4755-925A-B74040356E56}" destId="{E311FC79-E732-4B94-B5C8-0A12E660798F}" srcOrd="4" destOrd="0" presId="urn:microsoft.com/office/officeart/2005/8/layout/pList2"/>
    <dgm:cxn modelId="{46DD54AE-6EAC-43F0-8EAF-73A29AA43355}" type="presParOf" srcId="{E311FC79-E732-4B94-B5C8-0A12E660798F}" destId="{64B02A3A-2769-41B8-82B3-3D279DB1F95F}" srcOrd="0" destOrd="0" presId="urn:microsoft.com/office/officeart/2005/8/layout/pList2"/>
    <dgm:cxn modelId="{C5B4C044-942A-4E40-B53A-AD29DE71DB3A}" type="presParOf" srcId="{E311FC79-E732-4B94-B5C8-0A12E660798F}" destId="{754F75FF-04B7-45BA-A8C3-2443C51C87FA}" srcOrd="1" destOrd="0" presId="urn:microsoft.com/office/officeart/2005/8/layout/pList2"/>
    <dgm:cxn modelId="{9B2BBF91-61C3-49E2-BC3E-3AC67362D6C1}" type="presParOf" srcId="{E311FC79-E732-4B94-B5C8-0A12E660798F}" destId="{DBE974D4-66B4-416F-9005-5F03B17DBAC8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ADA8AC-A190-4358-9D70-580485FA9D4A}">
      <dsp:nvSpPr>
        <dsp:cNvPr id="0" name=""/>
        <dsp:cNvSpPr/>
      </dsp:nvSpPr>
      <dsp:spPr>
        <a:xfrm>
          <a:off x="0" y="0"/>
          <a:ext cx="6180927" cy="1675375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1C18EE-CE74-4EBD-9CB5-F3003994B27E}">
      <dsp:nvSpPr>
        <dsp:cNvPr id="0" name=""/>
        <dsp:cNvSpPr/>
      </dsp:nvSpPr>
      <dsp:spPr>
        <a:xfrm>
          <a:off x="214306" y="-47471"/>
          <a:ext cx="1612647" cy="1865261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16D664-95D6-4021-802C-54FD12EAA080}">
      <dsp:nvSpPr>
        <dsp:cNvPr id="0" name=""/>
        <dsp:cNvSpPr/>
      </dsp:nvSpPr>
      <dsp:spPr>
        <a:xfrm rot="10800000">
          <a:off x="0" y="1717788"/>
          <a:ext cx="1813309" cy="2047680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chemeClr val="bg1"/>
              </a:solidFill>
            </a:rPr>
            <a:t>1 этап. </a:t>
          </a:r>
          <a:r>
            <a:rPr lang="ru-RU" sz="1600" b="1" kern="1200" dirty="0">
              <a:solidFill>
                <a:schemeClr val="bg1"/>
              </a:solidFill>
            </a:rPr>
            <a:t>Программа повышения квалификации в формате «смешанного обучения»</a:t>
          </a:r>
        </a:p>
      </dsp:txBody>
      <dsp:txXfrm rot="10800000">
        <a:off x="55766" y="1717788"/>
        <a:ext cx="1701777" cy="1991914"/>
      </dsp:txXfrm>
    </dsp:sp>
    <dsp:sp modelId="{D84B41C8-FEF9-4EFD-9AC5-7C95A9905365}">
      <dsp:nvSpPr>
        <dsp:cNvPr id="0" name=""/>
        <dsp:cNvSpPr/>
      </dsp:nvSpPr>
      <dsp:spPr>
        <a:xfrm>
          <a:off x="2154361" y="64511"/>
          <a:ext cx="1790845" cy="157030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01811F-4BB4-4B96-AA43-308DDC4D7666}">
      <dsp:nvSpPr>
        <dsp:cNvPr id="0" name=""/>
        <dsp:cNvSpPr/>
      </dsp:nvSpPr>
      <dsp:spPr>
        <a:xfrm rot="10800000">
          <a:off x="2226382" y="1675375"/>
          <a:ext cx="1728177" cy="2047680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bg1"/>
              </a:solidFill>
            </a:rPr>
            <a:t>2 этап.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bg1"/>
              </a:solidFill>
            </a:rPr>
            <a:t>Подготовка и реализация  собственного проекта</a:t>
          </a:r>
        </a:p>
      </dsp:txBody>
      <dsp:txXfrm rot="10800000">
        <a:off x="2279529" y="1675375"/>
        <a:ext cx="1621883" cy="1994533"/>
      </dsp:txXfrm>
    </dsp:sp>
    <dsp:sp modelId="{DBE974D4-66B4-416F-9005-5F03B17DBAC8}">
      <dsp:nvSpPr>
        <dsp:cNvPr id="0" name=""/>
        <dsp:cNvSpPr/>
      </dsp:nvSpPr>
      <dsp:spPr>
        <a:xfrm>
          <a:off x="4242595" y="122655"/>
          <a:ext cx="1843739" cy="137261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B02A3A-2769-41B8-82B3-3D279DB1F95F}">
      <dsp:nvSpPr>
        <dsp:cNvPr id="0" name=""/>
        <dsp:cNvSpPr/>
      </dsp:nvSpPr>
      <dsp:spPr>
        <a:xfrm rot="10800000">
          <a:off x="4313094" y="1658543"/>
          <a:ext cx="1867832" cy="2047680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bg1"/>
              </a:solidFill>
            </a:rPr>
            <a:t>3. Этап.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bg1"/>
              </a:solidFill>
            </a:rPr>
            <a:t> Участие в конкурсе-фестивале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bg1"/>
              </a:solidFill>
            </a:rPr>
            <a:t>«5 шагов к читающей школе»</a:t>
          </a:r>
        </a:p>
      </dsp:txBody>
      <dsp:txXfrm rot="10800000">
        <a:off x="4370536" y="1658543"/>
        <a:ext cx="1752948" cy="19902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8C46FA-2C32-41F8-B2DB-86D0570F14A9}" type="datetimeFigureOut">
              <a:rPr lang="ru-RU" smtClean="0"/>
              <a:t>01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449C70-560B-4D13-868E-0E1639DEE96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45791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49C70-560B-4D13-868E-0E1639DEE96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87958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>
            <a:extLst>
              <a:ext uri="{FF2B5EF4-FFF2-40B4-BE49-F238E27FC236}">
                <a16:creationId xmlns:a16="http://schemas.microsoft.com/office/drawing/2014/main" id="{C920EFF2-6C35-44BB-ACB0-834FD3F9C9F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1" name="Заметки 2">
            <a:extLst>
              <a:ext uri="{FF2B5EF4-FFF2-40B4-BE49-F238E27FC236}">
                <a16:creationId xmlns:a16="http://schemas.microsoft.com/office/drawing/2014/main" id="{4D9CA331-2112-456C-92AE-FDAFFC7B5C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27652" name="Номер слайда 3">
            <a:extLst>
              <a:ext uri="{FF2B5EF4-FFF2-40B4-BE49-F238E27FC236}">
                <a16:creationId xmlns:a16="http://schemas.microsoft.com/office/drawing/2014/main" id="{A563EAD2-6105-4B28-BFA7-37F10C5AD6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045D687D-6C2D-4FAB-8DCD-FBBE629181D8}" type="slidenum">
              <a:rPr lang="ru-RU" altLang="ru-RU" smtClean="0"/>
              <a:pPr/>
              <a:t>38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449C70-560B-4D13-868E-0E1639DEE96C}" type="slidenum">
              <a:rPr lang="ru-RU" smtClean="0"/>
              <a:t>6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54488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001FD-7E5C-4189-A490-B6A57896C735}" type="slidenum">
              <a:rPr lang="en-US" smtClean="0"/>
              <a:pPr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1571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Образ слайда 1">
            <a:extLst>
              <a:ext uri="{FF2B5EF4-FFF2-40B4-BE49-F238E27FC236}">
                <a16:creationId xmlns:a16="http://schemas.microsoft.com/office/drawing/2014/main" id="{A3299F99-1675-44EE-A183-4D09BB458D8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0899" name="Заметки 2">
            <a:extLst>
              <a:ext uri="{FF2B5EF4-FFF2-40B4-BE49-F238E27FC236}">
                <a16:creationId xmlns:a16="http://schemas.microsoft.com/office/drawing/2014/main" id="{0824A18C-3E3F-4344-94AD-9C817F6068D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80900" name="Номер слайда 3">
            <a:extLst>
              <a:ext uri="{FF2B5EF4-FFF2-40B4-BE49-F238E27FC236}">
                <a16:creationId xmlns:a16="http://schemas.microsoft.com/office/drawing/2014/main" id="{D27964BA-0FF0-45CA-BAFA-B1BDA8C15B5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051A6575-3D43-400D-AFA6-3D6AA82D373B}" type="slidenum">
              <a:rPr lang="ru-RU" altLang="ru-RU" smtClean="0"/>
              <a:pPr/>
              <a:t>95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Образ слайда 1">
            <a:extLst>
              <a:ext uri="{FF2B5EF4-FFF2-40B4-BE49-F238E27FC236}">
                <a16:creationId xmlns:a16="http://schemas.microsoft.com/office/drawing/2014/main" id="{3F341644-A843-495D-8324-F0B0ADE05CA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0051" name="Заметки 2">
            <a:extLst>
              <a:ext uri="{FF2B5EF4-FFF2-40B4-BE49-F238E27FC236}">
                <a16:creationId xmlns:a16="http://schemas.microsoft.com/office/drawing/2014/main" id="{84BF6EBE-C4C3-48CB-9FD7-B892D85E228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130052" name="Номер слайда 3">
            <a:extLst>
              <a:ext uri="{FF2B5EF4-FFF2-40B4-BE49-F238E27FC236}">
                <a16:creationId xmlns:a16="http://schemas.microsoft.com/office/drawing/2014/main" id="{A929CBB9-E5D9-4BE1-A7FE-5939F5DBDC3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041A3289-F29A-4A64-82A6-3CAF48822CED}" type="slidenum">
              <a:rPr lang="ru-RU" altLang="ru-RU" smtClean="0"/>
              <a:pPr/>
              <a:t>99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Образ слайда 1">
            <a:extLst>
              <a:ext uri="{FF2B5EF4-FFF2-40B4-BE49-F238E27FC236}">
                <a16:creationId xmlns:a16="http://schemas.microsoft.com/office/drawing/2014/main" id="{DD692DEC-F1E1-4336-BEFA-B38E457C6C0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4147" name="Заметки 2">
            <a:extLst>
              <a:ext uri="{FF2B5EF4-FFF2-40B4-BE49-F238E27FC236}">
                <a16:creationId xmlns:a16="http://schemas.microsoft.com/office/drawing/2014/main" id="{DF2BE140-866F-4440-9777-3502C78F4FC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134148" name="Номер слайда 3">
            <a:extLst>
              <a:ext uri="{FF2B5EF4-FFF2-40B4-BE49-F238E27FC236}">
                <a16:creationId xmlns:a16="http://schemas.microsoft.com/office/drawing/2014/main" id="{BA14827F-C9D8-4E99-BA2F-8227C0953DD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AAA40636-47FB-44E6-A61C-D054200AF21A}" type="slidenum">
              <a:rPr lang="ru-RU" altLang="ru-RU" smtClean="0"/>
              <a:pPr/>
              <a:t>103</a:t>
            </a:fld>
            <a:endParaRPr lang="ru-RU" alt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1"/>
            <a:ext cx="7772400" cy="32004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714750"/>
            <a:ext cx="6400800" cy="9144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0939" y="463154"/>
            <a:ext cx="7793037" cy="857250"/>
          </a:xfr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182688" y="1513285"/>
            <a:ext cx="3810000" cy="3086100"/>
          </a:xfrm>
        </p:spPr>
        <p:txBody>
          <a:bodyPr/>
          <a:lstStyle/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  <a:endParaRPr lang="en-US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5145088" y="1513285"/>
            <a:ext cx="3810000" cy="30861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5" name="Rectangle 11">
            <a:extLst>
              <a:ext uri="{FF2B5EF4-FFF2-40B4-BE49-F238E27FC236}">
                <a16:creationId xmlns:a16="http://schemas.microsoft.com/office/drawing/2014/main" id="{378F97CF-5B94-4D54-9662-CE9CA2B3853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CA"/>
          </a:p>
        </p:txBody>
      </p:sp>
      <p:sp>
        <p:nvSpPr>
          <p:cNvPr id="6" name="Rectangle 12">
            <a:extLst>
              <a:ext uri="{FF2B5EF4-FFF2-40B4-BE49-F238E27FC236}">
                <a16:creationId xmlns:a16="http://schemas.microsoft.com/office/drawing/2014/main" id="{375B6496-B1C6-4A9C-AD28-7DD2501095A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CA"/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153A4ABA-C47D-45D3-842A-4420A31EB58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BAA6E6-6A7B-463B-9B33-6D7B8E2F542D}" type="slidenum">
              <a:rPr lang="en-CA" altLang="ru-RU"/>
              <a:pPr>
                <a:defRPr/>
              </a:pPr>
              <a:t>‹#›</a:t>
            </a:fld>
            <a:endParaRPr lang="en-CA" altLang="ru-RU"/>
          </a:p>
        </p:txBody>
      </p:sp>
    </p:spTree>
    <p:extLst>
      <p:ext uri="{BB962C8B-B14F-4D97-AF65-F5344CB8AC3E}">
        <p14:creationId xmlns:p14="http://schemas.microsoft.com/office/powerpoint/2010/main" val="1737149322"/>
      </p:ext>
    </p:extLst>
  </p:cSld>
  <p:clrMapOvr>
    <a:masterClrMapping/>
  </p:clrMapOvr>
  <p:transition spd="med">
    <p:zoom dir="in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76190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189A008C-DE94-473E-9206-C741D3B04BB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1281" y="1171575"/>
            <a:ext cx="8439150" cy="3051572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351282" y="881765"/>
            <a:ext cx="3915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351281" y="291470"/>
            <a:ext cx="8439104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900" cap="all" baseline="0">
                <a:solidFill>
                  <a:schemeClr val="accent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42892" indent="0">
              <a:buFont typeface="Arial" panose="020B0604020202020204" pitchFamily="34" charset="0"/>
              <a:buNone/>
              <a:defRPr/>
            </a:lvl2pPr>
            <a:lvl3pPr marL="685783" indent="0">
              <a:buFont typeface="Arial" panose="020B0604020202020204" pitchFamily="34" charset="0"/>
              <a:buNone/>
              <a:defRPr/>
            </a:lvl3pPr>
            <a:lvl4pPr marL="1028675" indent="0">
              <a:buFont typeface="Arial" panose="020B0604020202020204" pitchFamily="34" charset="0"/>
              <a:buNone/>
              <a:defRPr/>
            </a:lvl4pPr>
            <a:lvl5pPr marL="1371566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8217098" y="4891688"/>
            <a:ext cx="33397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7ADFAACA-6A63-4FF6-B417-AB12268D3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52733421"/>
      </p:ext>
    </p:extLst>
  </p:cSld>
  <p:clrMapOvr>
    <a:masterClrMapping/>
  </p:clrMapOvr>
  <p:transition spd="slow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700" b="1" i="0" baseline="0" dirty="0">
              <a:latin typeface="Trebuchet MS"/>
              <a:sym typeface="Trebuchet M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1281" y="486852"/>
            <a:ext cx="8439104" cy="332399"/>
          </a:xfrm>
        </p:spPr>
        <p:txBody>
          <a:bodyPr/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1281" y="1171575"/>
            <a:ext cx="8439150" cy="305157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351282" y="881765"/>
            <a:ext cx="3915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351281" y="291470"/>
            <a:ext cx="8439104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900" cap="all" baseline="0">
                <a:solidFill>
                  <a:schemeClr val="accent1"/>
                </a:solidFill>
              </a:defRPr>
            </a:lvl1pPr>
            <a:lvl2pPr marL="342892" indent="0">
              <a:buFont typeface="Arial" panose="020B0604020202020204" pitchFamily="34" charset="0"/>
              <a:buNone/>
              <a:defRPr/>
            </a:lvl2pPr>
            <a:lvl3pPr marL="685783" indent="0">
              <a:buFont typeface="Arial" panose="020B0604020202020204" pitchFamily="34" charset="0"/>
              <a:buNone/>
              <a:defRPr/>
            </a:lvl3pPr>
            <a:lvl4pPr marL="1028675" indent="0">
              <a:buFont typeface="Arial" panose="020B0604020202020204" pitchFamily="34" charset="0"/>
              <a:buNone/>
              <a:defRPr/>
            </a:lvl4pPr>
            <a:lvl5pPr marL="1371566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8217098" y="4891688"/>
            <a:ext cx="33397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7149403"/>
      </p:ext>
    </p:extLst>
  </p:cSld>
  <p:clrMapOvr>
    <a:masterClrMapping/>
  </p:clrMapOvr>
  <p:transition spd="slow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EE3BA-EEAD-42B0-A53A-6A185FA99866}" type="datetime1">
              <a:rPr lang="ru-RU" smtClean="0"/>
              <a:t>01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ШБА 2019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32F98-0097-4CFF-BAD6-3D16722856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78378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730D4-CDEF-4125-99AC-A9EE4F75CC1C}" type="datetime1">
              <a:rPr lang="ru-RU" smtClean="0"/>
              <a:t>01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ШБА 2019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32F98-0097-4CFF-BAD6-3D16722856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7763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5DA6D-FFE3-4E10-A4EC-F8C7B71B409F}" type="datetime1">
              <a:rPr lang="ru-RU" smtClean="0"/>
              <a:t>01.10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ШБА 2019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32F98-0097-4CFF-BAD6-3D16722856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98348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6EC45-05FF-43A7-82A1-02849DE1B2C2}" type="datetime1">
              <a:rPr lang="ru-RU" smtClean="0"/>
              <a:t>01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ШБА 2019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32F98-0097-4CFF-BAD6-3D16722856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01429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4ED067-7FD3-448C-9039-D525EFCC4F60}" type="datetime1">
              <a:rPr lang="ru-RU" smtClean="0"/>
              <a:t>01.10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ШБА 2019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32F98-0097-4CFF-BAD6-3D16722856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94795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2C851F-CE25-42A5-9C30-9EF49642F44C}" type="datetime1">
              <a:rPr lang="ru-RU" smtClean="0"/>
              <a:t>01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ШБА 2019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32F98-0097-4CFF-BAD6-3D16722856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4169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58F73A-D1F5-4F52-8E58-50E33FC2CA13}" type="datetime1">
              <a:rPr lang="ru-RU" smtClean="0"/>
              <a:t>01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ШБА 2019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32F98-0097-4CFF-BAD6-3D16722856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93358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6000">
                <a:latin typeface="Candara" panose="020E0502030303020204" pitchFamily="34" charset="0"/>
              </a:defRPr>
            </a:lvl1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ru-RU" dirty="0"/>
              <a:t>Пример текста</a:t>
            </a:r>
            <a:endParaRPr lang="en-US" dirty="0"/>
          </a:p>
        </p:txBody>
      </p:sp>
      <p:sp>
        <p:nvSpPr>
          <p:cNvPr id="11" name="Заголовок 2"/>
          <p:cNvSpPr>
            <a:spLocks noGrp="1"/>
          </p:cNvSpPr>
          <p:nvPr>
            <p:ph type="title"/>
          </p:nvPr>
        </p:nvSpPr>
        <p:spPr>
          <a:xfrm>
            <a:off x="1763688" y="303498"/>
            <a:ext cx="6923112" cy="896652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3"/>
          </p:nvPr>
        </p:nvSpPr>
        <p:spPr>
          <a:xfrm>
            <a:off x="468313" y="303610"/>
            <a:ext cx="1295400" cy="899988"/>
          </a:xfrm>
        </p:spPr>
      </p:sp>
      <p:sp>
        <p:nvSpPr>
          <p:cNvPr id="13" name="Дата 1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E2110D7-0814-45A7-95A4-6C99B4A7F123}" type="datetime1">
              <a:rPr lang="ru-RU" smtClean="0"/>
              <a:t>01.10.2020</a:t>
            </a:fld>
            <a:endParaRPr lang="ru-RU"/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РШБА 2019</a:t>
            </a:r>
          </a:p>
        </p:txBody>
      </p:sp>
      <p:sp>
        <p:nvSpPr>
          <p:cNvPr id="15" name="Номер слайда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91DEFB-CD42-4837-B271-5D3EB66438A1}" type="datetime1">
              <a:rPr lang="ru-RU" smtClean="0"/>
              <a:t>01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ШБА 2019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32F98-0097-4CFF-BAD6-3D16722856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74563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E602D-5A07-4A69-9DCA-D5F008146434}" type="datetime1">
              <a:rPr lang="ru-RU" smtClean="0"/>
              <a:t>01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ШБА 2019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32F98-0097-4CFF-BAD6-3D16722856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46101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200151"/>
            <a:ext cx="8229600" cy="137159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000">
                <a:latin typeface="Candara" panose="020E0502030303020204" pitchFamily="34" charset="0"/>
              </a:defRPr>
            </a:lvl1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ru-RU" dirty="0"/>
              <a:t>Пример текста</a:t>
            </a:r>
            <a:endParaRPr lang="en-US" dirty="0"/>
          </a:p>
        </p:txBody>
      </p:sp>
      <p:sp>
        <p:nvSpPr>
          <p:cNvPr id="4" name="Рисунок 3"/>
          <p:cNvSpPr>
            <a:spLocks noGrp="1"/>
          </p:cNvSpPr>
          <p:nvPr>
            <p:ph type="pic" sz="quarter" idx="14"/>
          </p:nvPr>
        </p:nvSpPr>
        <p:spPr>
          <a:xfrm>
            <a:off x="468313" y="2787650"/>
            <a:ext cx="3887787" cy="2016125"/>
          </a:xfrm>
        </p:spPr>
        <p:txBody>
          <a:bodyPr/>
          <a:lstStyle/>
          <a:p>
            <a:endParaRPr lang="ru-RU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5"/>
          </p:nvPr>
        </p:nvSpPr>
        <p:spPr>
          <a:xfrm>
            <a:off x="4499992" y="2787775"/>
            <a:ext cx="4175125" cy="2016224"/>
          </a:xfrm>
        </p:spPr>
        <p:txBody>
          <a:bodyPr/>
          <a:lstStyle/>
          <a:p>
            <a:endParaRPr lang="ru-RU"/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1763688" y="303498"/>
            <a:ext cx="6923112" cy="896652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3"/>
          </p:nvPr>
        </p:nvSpPr>
        <p:spPr>
          <a:xfrm>
            <a:off x="468313" y="303610"/>
            <a:ext cx="1295400" cy="899988"/>
          </a:xfrm>
        </p:spPr>
      </p:sp>
      <p:sp>
        <p:nvSpPr>
          <p:cNvPr id="7" name="Дата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CE2110D7-0814-45A7-95A4-6C99B4A7F123}" type="datetime1">
              <a:rPr lang="ru-RU" smtClean="0"/>
              <a:t>01.10.2020</a:t>
            </a:fld>
            <a:endParaRPr lang="ru-RU"/>
          </a:p>
        </p:txBody>
      </p:sp>
      <p:sp>
        <p:nvSpPr>
          <p:cNvPr id="12" name="Нижний колонтитул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ru-RU" dirty="0"/>
              <a:t>РШБА 2019</a:t>
            </a: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6897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200150"/>
            <a:ext cx="4041648" cy="339471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3" name="Заголовок 2"/>
          <p:cNvSpPr>
            <a:spLocks noGrp="1"/>
          </p:cNvSpPr>
          <p:nvPr>
            <p:ph type="title"/>
          </p:nvPr>
        </p:nvSpPr>
        <p:spPr>
          <a:xfrm>
            <a:off x="1763688" y="303498"/>
            <a:ext cx="6923112" cy="896652"/>
          </a:xfrm>
        </p:spPr>
        <p:txBody>
          <a:bodyPr/>
          <a:lstStyle/>
          <a:p>
            <a:endParaRPr lang="ru-RU"/>
          </a:p>
        </p:txBody>
      </p:sp>
      <p:sp>
        <p:nvSpPr>
          <p:cNvPr id="14" name="Рисунок 3"/>
          <p:cNvSpPr>
            <a:spLocks noGrp="1"/>
          </p:cNvSpPr>
          <p:nvPr>
            <p:ph type="pic" sz="quarter" idx="14"/>
          </p:nvPr>
        </p:nvSpPr>
        <p:spPr>
          <a:xfrm>
            <a:off x="468313" y="303610"/>
            <a:ext cx="1295400" cy="899988"/>
          </a:xfrm>
        </p:spPr>
      </p:sp>
      <p:sp>
        <p:nvSpPr>
          <p:cNvPr id="3" name="Дата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E2110D7-0814-45A7-95A4-6C99B4A7F123}" type="datetime1">
              <a:rPr lang="ru-RU" smtClean="0"/>
              <a:t>01.10.2020</a:t>
            </a:fld>
            <a:endParaRPr lang="ru-RU"/>
          </a:p>
        </p:txBody>
      </p:sp>
      <p:sp>
        <p:nvSpPr>
          <p:cNvPr id="15" name="Нижний колонтитул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dirty="0"/>
              <a:t>РШБА 2019</a:t>
            </a:r>
          </a:p>
        </p:txBody>
      </p:sp>
      <p:sp>
        <p:nvSpPr>
          <p:cNvPr id="16" name="Номер слайда 1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7B1FDC-7916-42F9-BAC8-E753D15640AE}" type="datetime1">
              <a:rPr lang="ru-RU" smtClean="0"/>
              <a:t>01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ШБА 2019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32F98-0097-4CFF-BAD6-3D16722856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0931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/>
          <p:cNvSpPr>
            <a:spLocks noGrp="1"/>
          </p:cNvSpPr>
          <p:nvPr>
            <p:ph type="pic" sz="quarter" idx="15"/>
          </p:nvPr>
        </p:nvSpPr>
        <p:spPr>
          <a:xfrm>
            <a:off x="467544" y="1347614"/>
            <a:ext cx="2160588" cy="2016125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6"/>
          </p:nvPr>
        </p:nvSpPr>
        <p:spPr>
          <a:xfrm>
            <a:off x="468313" y="3508375"/>
            <a:ext cx="2159000" cy="10795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2771775" y="1347788"/>
            <a:ext cx="5903913" cy="3240087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Заголовок 2"/>
          <p:cNvSpPr>
            <a:spLocks noGrp="1"/>
          </p:cNvSpPr>
          <p:nvPr>
            <p:ph type="title"/>
          </p:nvPr>
        </p:nvSpPr>
        <p:spPr>
          <a:xfrm>
            <a:off x="1763688" y="303498"/>
            <a:ext cx="6923112" cy="896652"/>
          </a:xfrm>
        </p:spPr>
        <p:txBody>
          <a:bodyPr/>
          <a:lstStyle/>
          <a:p>
            <a:endParaRPr lang="ru-RU"/>
          </a:p>
        </p:txBody>
      </p:sp>
      <p:sp>
        <p:nvSpPr>
          <p:cNvPr id="18" name="Рисунок 3"/>
          <p:cNvSpPr>
            <a:spLocks noGrp="1"/>
          </p:cNvSpPr>
          <p:nvPr>
            <p:ph type="pic" sz="quarter" idx="13"/>
          </p:nvPr>
        </p:nvSpPr>
        <p:spPr>
          <a:xfrm>
            <a:off x="468313" y="303610"/>
            <a:ext cx="1295400" cy="899988"/>
          </a:xfrm>
        </p:spPr>
      </p:sp>
      <p:sp>
        <p:nvSpPr>
          <p:cNvPr id="19" name="Дата 18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CE2110D7-0814-45A7-95A4-6C99B4A7F123}" type="datetime1">
              <a:rPr lang="ru-RU" smtClean="0"/>
              <a:t>01.10.2020</a:t>
            </a:fld>
            <a:endParaRPr lang="ru-RU"/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ru-RU" dirty="0"/>
              <a:t>РШБА 2019</a:t>
            </a:r>
          </a:p>
        </p:txBody>
      </p:sp>
      <p:sp>
        <p:nvSpPr>
          <p:cNvPr id="21" name="Номер слайда 2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28106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735F60-7C19-44A6-AB18-C136212F208D}" type="datetime1">
              <a:rPr lang="ru-RU" smtClean="0"/>
              <a:t>01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РШБА 2019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32F98-0097-4CFF-BAD6-3D16722856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4498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2FED11-5701-4FCE-881A-A0B806A630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82A67A-7114-4B43-9C56-518B24D23B95}" type="datetimeFigureOut">
              <a:rPr lang="en-US"/>
              <a:pPr>
                <a:defRPr/>
              </a:pPr>
              <a:t>10/1/2020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CD972E-68E1-4990-8B55-CA641D8633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071BBF-8B36-4FA7-B950-BBA2E90D4D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93BF9-0EFE-48D6-8688-FB668DCF053D}" type="slidenum">
              <a:rPr lang="en-AU" altLang="ru-RU"/>
              <a:pPr>
                <a:defRPr/>
              </a:pPr>
              <a:t>‹#›</a:t>
            </a:fld>
            <a:endParaRPr lang="en-AU" altLang="ru-RU"/>
          </a:p>
        </p:txBody>
      </p:sp>
    </p:spTree>
    <p:extLst>
      <p:ext uri="{BB962C8B-B14F-4D97-AF65-F5344CB8AC3E}">
        <p14:creationId xmlns:p14="http://schemas.microsoft.com/office/powerpoint/2010/main" val="3884603731"/>
      </p:ext>
    </p:extLst>
  </p:cSld>
  <p:clrMapOvr>
    <a:masterClrMapping/>
  </p:clrMapOvr>
  <p:transition spd="med">
    <p:dissolv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6A1A7E64-0510-46D6-B877-1CF85A28D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4A81C8-5C93-4440-96F2-87FC9C025E4A}" type="datetimeFigureOut">
              <a:rPr lang="en-US"/>
              <a:pPr>
                <a:defRPr/>
              </a:pPr>
              <a:t>10/1/2020</a:t>
            </a:fld>
            <a:endParaRPr lang="en-AU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F62389C-136D-4560-8A9E-F6B5DA6C2E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1E1B90C-A276-4612-B586-6F2BEFF6AA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3900DA-BA0D-495B-A675-7DD995E4E828}" type="slidenum">
              <a:rPr lang="en-AU" altLang="ru-RU"/>
              <a:pPr>
                <a:defRPr/>
              </a:pPr>
              <a:t>‹#›</a:t>
            </a:fld>
            <a:endParaRPr lang="en-AU" altLang="ru-RU"/>
          </a:p>
        </p:txBody>
      </p:sp>
    </p:spTree>
    <p:extLst>
      <p:ext uri="{BB962C8B-B14F-4D97-AF65-F5344CB8AC3E}">
        <p14:creationId xmlns:p14="http://schemas.microsoft.com/office/powerpoint/2010/main" val="2615599518"/>
      </p:ext>
    </p:extLst>
  </p:cSld>
  <p:clrMapOvr>
    <a:masterClrMapping/>
  </p:clrMapOvr>
  <p:transition spd="med">
    <p:dissolv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20015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8" y="4767263"/>
            <a:ext cx="2085975" cy="273844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CE2110D7-0814-45A7-95A4-6C99B4A7F123}" type="datetime1">
              <a:rPr lang="ru-RU" smtClean="0"/>
              <a:t>01.10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6" y="4767263"/>
            <a:ext cx="2847975" cy="273844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ru-RU" dirty="0"/>
              <a:t>РШБА 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9" y="4767263"/>
            <a:ext cx="561975" cy="273844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6C2D38BD-AC05-45EF-A3CD-5A738F89286B}" type="slidenum">
              <a:rPr lang="ru-RU" smtClean="0"/>
              <a:t>‹#›</a:t>
            </a:fld>
            <a:endParaRPr lang="ru-RU"/>
          </a:p>
        </p:txBody>
      </p:sp>
      <p:sp>
        <p:nvSpPr>
          <p:cNvPr id="7" name="Oval 6"/>
          <p:cNvSpPr/>
          <p:nvPr/>
        </p:nvSpPr>
        <p:spPr>
          <a:xfrm>
            <a:off x="8457760" y="4874538"/>
            <a:ext cx="84772" cy="635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4874538"/>
            <a:ext cx="84772" cy="635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  <p:sldLayoutId id="2147483664" r:id="rId4"/>
    <p:sldLayoutId id="2147483668" r:id="rId5"/>
    <p:sldLayoutId id="2147483665" r:id="rId6"/>
    <p:sldLayoutId id="2147483671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hf hd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0B762C-67D5-4663-9491-7DEA79D1909F}" type="datetime1">
              <a:rPr lang="ru-RU" smtClean="0"/>
              <a:t>01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dirty="0"/>
              <a:t>РШБА 2019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32F98-0097-4CFF-BAD6-3D16722856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3415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ok.ru/profile/552226715479/statuses/151693153294423" TargetMode="External"/><Relationship Id="rId2" Type="http://schemas.openxmlformats.org/officeDocument/2006/relationships/hyperlink" Target="https://www.instagram.com/p/B_93O8q__A/?utm_source=ig_web_copy_link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ok.ru/group53695021056082/topic/151720584162130" TargetMode="External"/><Relationship Id="rId5" Type="http://schemas.openxmlformats.org/officeDocument/2006/relationships/hyperlink" Target="https://stapico.ru/photos/2313654502845932938/info/CAbwIMXHWWK" TargetMode="External"/><Relationship Id="rId4" Type="http://schemas.openxmlformats.org/officeDocument/2006/relationships/hyperlink" Target="https://ok.ru/profile/554606423519/statuses/151547942925279" TargetMode="Externa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ral-press.ru/" TargetMode="External"/><Relationship Id="rId2" Type="http://schemas.openxmlformats.org/officeDocument/2006/relationships/hyperlink" Target="https://podpiska.pochta.ru/press/&#1055;3758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9.jpeg"/></Relationships>
</file>

<file path=ppt/slides/_rels/slide10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ural-press.ru/" TargetMode="External"/><Relationship Id="rId3" Type="http://schemas.openxmlformats.org/officeDocument/2006/relationships/image" Target="../media/image131.jpeg"/><Relationship Id="rId7" Type="http://schemas.openxmlformats.org/officeDocument/2006/relationships/hyperlink" Target="https://podpiska.pochta.ru/press/&#1055;3760" TargetMode="External"/><Relationship Id="rId2" Type="http://schemas.openxmlformats.org/officeDocument/2006/relationships/image" Target="../media/image13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4.png"/><Relationship Id="rId5" Type="http://schemas.openxmlformats.org/officeDocument/2006/relationships/image" Target="../media/image133.jpeg"/><Relationship Id="rId4" Type="http://schemas.openxmlformats.org/officeDocument/2006/relationships/image" Target="../media/image132.jpeg"/><Relationship Id="rId9" Type="http://schemas.openxmlformats.org/officeDocument/2006/relationships/image" Target="../media/image135.jpeg"/></Relationships>
</file>

<file path=ppt/slides/_rels/slide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jpeg"/><Relationship Id="rId3" Type="http://schemas.openxmlformats.org/officeDocument/2006/relationships/hyperlink" Target="http://www.ural-press.ru/" TargetMode="External"/><Relationship Id="rId7" Type="http://schemas.openxmlformats.org/officeDocument/2006/relationships/image" Target="../media/image139.jpeg"/><Relationship Id="rId2" Type="http://schemas.openxmlformats.org/officeDocument/2006/relationships/hyperlink" Target="https://podpiska.pochta.ru/press/&#1055;3759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8.jpeg"/><Relationship Id="rId5" Type="http://schemas.openxmlformats.org/officeDocument/2006/relationships/image" Target="../media/image137.jpeg"/><Relationship Id="rId4" Type="http://schemas.openxmlformats.org/officeDocument/2006/relationships/image" Target="../media/image136.jpeg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jpeg"/><Relationship Id="rId3" Type="http://schemas.openxmlformats.org/officeDocument/2006/relationships/hyperlink" Target="https://podpiska.pochta.ru/press/%D0%9F3683" TargetMode="External"/><Relationship Id="rId7" Type="http://schemas.openxmlformats.org/officeDocument/2006/relationships/image" Target="../media/image14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9.jpeg"/><Relationship Id="rId5" Type="http://schemas.openxmlformats.org/officeDocument/2006/relationships/image" Target="../media/image128.jpeg"/><Relationship Id="rId10" Type="http://schemas.openxmlformats.org/officeDocument/2006/relationships/image" Target="../media/image136.jpeg"/><Relationship Id="rId4" Type="http://schemas.openxmlformats.org/officeDocument/2006/relationships/image" Target="../media/image127.png"/><Relationship Id="rId9" Type="http://schemas.openxmlformats.org/officeDocument/2006/relationships/image" Target="../media/image140.jpeg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hyperlink" Target="mailto:ramandee49@yahoo.com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iaslchhavi@gmail.com" TargetMode="External"/><Relationship Id="rId4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kinantea@gmail.com" TargetMode="Externa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37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hyperlink" Target="https://ur-l.ru/u11BA" TargetMode="External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jpe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rusla.ru/rsba/www.rusla.ru/rsba/association/projects/declaration-sl-rus.php" TargetMode="External"/><Relationship Id="rId4" Type="http://schemas.openxmlformats.org/officeDocument/2006/relationships/image" Target="../media/image71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jpeg"/><Relationship Id="rId5" Type="http://schemas.openxmlformats.org/officeDocument/2006/relationships/image" Target="../media/image75.jpeg"/><Relationship Id="rId4" Type="http://schemas.openxmlformats.org/officeDocument/2006/relationships/image" Target="../media/image74.jpe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8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jpg"/><Relationship Id="rId3" Type="http://schemas.openxmlformats.org/officeDocument/2006/relationships/tags" Target="../tags/tag6.xml"/><Relationship Id="rId7" Type="http://schemas.openxmlformats.org/officeDocument/2006/relationships/image" Target="../media/image8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93.jp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92.jp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91.jp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g"/><Relationship Id="rId2" Type="http://schemas.openxmlformats.org/officeDocument/2006/relationships/image" Target="../media/image94.jp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6.jpeg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vk.com/wall-193810173_62" TargetMode="External"/><Relationship Id="rId2" Type="http://schemas.openxmlformats.org/officeDocument/2006/relationships/hyperlink" Target="https://vk.com/id113370901?w=wall113370901_2163" TargetMode="External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vk.com/video150672885_456239031" TargetMode="External"/><Relationship Id="rId4" Type="http://schemas.openxmlformats.org/officeDocument/2006/relationships/hyperlink" Target="https://vk.com/wall505663678_30" TargetMode="Externa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g"/><Relationship Id="rId2" Type="http://schemas.openxmlformats.org/officeDocument/2006/relationships/image" Target="../media/image91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3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vk.com/id195533508" TargetMode="External"/><Relationship Id="rId7" Type="http://schemas.openxmlformats.org/officeDocument/2006/relationships/hyperlink" Target="https://youtu.be/OWX3CmGOZwo%C2%A0" TargetMode="External"/><Relationship Id="rId2" Type="http://schemas.openxmlformats.org/officeDocument/2006/relationships/hyperlink" Target="https://youtu.be/Hq2kmUchXeQ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vk.com/video-193810173_456239017" TargetMode="External"/><Relationship Id="rId5" Type="http://schemas.openxmlformats.org/officeDocument/2006/relationships/hyperlink" Target="https://vk.com/wall505663678_32" TargetMode="External"/><Relationship Id="rId4" Type="http://schemas.openxmlformats.org/officeDocument/2006/relationships/hyperlink" Target="https://youtu.be/ik8oPNO_ZTw" TargetMode="Externa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8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eg"/><Relationship Id="rId2" Type="http://schemas.openxmlformats.org/officeDocument/2006/relationships/image" Target="../media/image9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1.jpeg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jpg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kinouroki.ru" TargetMode="External"/><Relationship Id="rId2" Type="http://schemas.openxmlformats.org/officeDocument/2006/relationships/hyperlink" Target="mailto:info@cosmatica.org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smatica.org/upload/redactorfiles/Memorandum%20on%20the%20Culture%20for%20Life%20Development.pdf" TargetMode="Externa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9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ok.ru/profile/461446829532/album/876462022108/896587035356" TargetMode="External"/><Relationship Id="rId2" Type="http://schemas.openxmlformats.org/officeDocument/2006/relationships/hyperlink" Target="https://vk.com/club175109612?w=wall-175109612_545%2Fall&amp;z=photo-175109612_457239722%2Fwall-175109612_545" TargetMode="External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www.instagram.com/p/CAwdwSwHhDk/?igshid=vdt0416lvokt" TargetMode="Externa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0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10.jpeg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jpeg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jpeg"/><Relationship Id="rId1" Type="http://schemas.openxmlformats.org/officeDocument/2006/relationships/slideLayout" Target="../slideLayouts/slideLayout9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eg"/><Relationship Id="rId2" Type="http://schemas.openxmlformats.org/officeDocument/2006/relationships/image" Target="../media/image114.jpeg"/><Relationship Id="rId1" Type="http://schemas.openxmlformats.org/officeDocument/2006/relationships/slideLayout" Target="../slideLayouts/slideLayout1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7.jpeg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hyperlink" Target="http://www.rusla.ru/" TargetMode="External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jpeg"/><Relationship Id="rId3" Type="http://schemas.openxmlformats.org/officeDocument/2006/relationships/image" Target="../media/image120.png"/><Relationship Id="rId7" Type="http://schemas.openxmlformats.org/officeDocument/2006/relationships/image" Target="../media/image124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3.png"/><Relationship Id="rId5" Type="http://schemas.openxmlformats.org/officeDocument/2006/relationships/image" Target="../media/image122.png"/><Relationship Id="rId4" Type="http://schemas.openxmlformats.org/officeDocument/2006/relationships/image" Target="../media/image121.png"/><Relationship Id="rId9" Type="http://schemas.openxmlformats.org/officeDocument/2006/relationships/image" Target="../media/image126.jpeg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hyperlink" Target="https://podpiska.pochta.ru/press/%D0%9F3683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8.jpeg"/><Relationship Id="rId5" Type="http://schemas.openxmlformats.org/officeDocument/2006/relationships/image" Target="../media/image127.png"/><Relationship Id="rId4" Type="http://schemas.openxmlformats.org/officeDocument/2006/relationships/hyperlink" Target="http://ural-press.ru/catalog/95890/6524877/?sphrase_id=96276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740BBEB-3F10-436D-B8D7-75E370BD0C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457201"/>
            <a:ext cx="7772400" cy="3200400"/>
          </a:xfrm>
        </p:spPr>
        <p:txBody>
          <a:bodyPr/>
          <a:lstStyle/>
          <a:p>
            <a:endParaRPr lang="ru-RU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272C991B-229E-4D66-A0FE-7C780B23F8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259632" y="15923"/>
            <a:ext cx="6786500" cy="51275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2">
            <a:extLst>
              <a:ext uri="{FF2B5EF4-FFF2-40B4-BE49-F238E27FC236}">
                <a16:creationId xmlns:a16="http://schemas.microsoft.com/office/drawing/2014/main" id="{57D64FDA-9B9C-4E14-8BD0-9969C7E43A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1640" y="3534473"/>
            <a:ext cx="6786500" cy="150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народный месячник школьных библиотек – 20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b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Найти свой путь к хорошему здоровью и благополучию»</a:t>
            </a:r>
            <a:b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defRPr/>
            </a:pP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укова Татьяна Дмитриевна,</a:t>
            </a:r>
          </a:p>
          <a:p>
            <a:pPr algn="r" eaLnBrk="1" hangingPunct="1">
              <a:defRPr/>
            </a:pP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зидент РШБА, вице-президент Лиги Образования,</a:t>
            </a:r>
          </a:p>
          <a:p>
            <a:pPr algn="r" eaLnBrk="1" hangingPunct="1">
              <a:defRPr/>
            </a:pPr>
            <a:r>
              <a:rPr lang="ru-RU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нд.пед.наук</a:t>
            </a: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6" name="Рисунок 2">
            <a:extLst>
              <a:ext uri="{FF2B5EF4-FFF2-40B4-BE49-F238E27FC236}">
                <a16:creationId xmlns:a16="http://schemas.microsoft.com/office/drawing/2014/main" id="{10EEA4E4-691E-4491-9682-9D856784C0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320" y="6805"/>
            <a:ext cx="1119188" cy="155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0318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F447FD5-8BF0-4C92-856D-578CAC321369}"/>
              </a:ext>
            </a:extLst>
          </p:cNvPr>
          <p:cNvSpPr/>
          <p:nvPr/>
        </p:nvSpPr>
        <p:spPr>
          <a:xfrm>
            <a:off x="0" y="86917"/>
            <a:ext cx="9144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3000" b="1" dirty="0">
                <a:solidFill>
                  <a:srgbClr val="FF0000"/>
                </a:solidFill>
                <a:latin typeface="+mj-lt"/>
              </a:rPr>
              <a:t>Итоги всероссийской читательской акции </a:t>
            </a:r>
            <a:br>
              <a:rPr lang="ru-RU" sz="3000" b="1" dirty="0">
                <a:solidFill>
                  <a:srgbClr val="FF0000"/>
                </a:solidFill>
                <a:latin typeface="+mj-lt"/>
              </a:rPr>
            </a:br>
            <a:r>
              <a:rPr lang="ru-RU" sz="3000" b="1" dirty="0">
                <a:solidFill>
                  <a:srgbClr val="FF0000"/>
                </a:solidFill>
                <a:latin typeface="+mj-lt"/>
              </a:rPr>
              <a:t>«Обнимем ребенка с книгой!»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43026D-22A9-4540-9E04-7B331101D792}"/>
              </a:ext>
            </a:extLst>
          </p:cNvPr>
          <p:cNvSpPr txBox="1"/>
          <p:nvPr/>
        </p:nvSpPr>
        <p:spPr>
          <a:xfrm>
            <a:off x="395536" y="1036542"/>
            <a:ext cx="8640960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Лауреаты первой степени:</a:t>
            </a:r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 Группа 5 детского сада № 10</a:t>
            </a:r>
            <a:r>
              <a:rPr lang="ru-RU" sz="16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 - Дзержинский р-н, г. Волгоград </a:t>
            </a:r>
            <a:r>
              <a:rPr lang="ru-RU" sz="16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2"/>
              </a:rPr>
              <a:t>https://www.instagram.com/p/B_93O8q__A/?utm_source=ig_web_copy_link</a:t>
            </a:r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 </a:t>
            </a:r>
            <a:r>
              <a:rPr lang="ru-RU" sz="1600" b="1" i="0" dirty="0" err="1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Горностаева</a:t>
            </a:r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Юлия</a:t>
            </a:r>
            <a:r>
              <a:rPr lang="ru-RU" sz="16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 - г. Ленинск-Кузнецкий Кемеровской области </a:t>
            </a:r>
            <a:r>
              <a:rPr lang="ru-RU" sz="16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3"/>
              </a:rPr>
              <a:t>https://ok.ru/profile/552226715479/statuses/151693153294423</a:t>
            </a:r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ru-RU" sz="1600" b="0" i="1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Организатор и координатор акции – педагог-организатор Самойлова А. В.</a:t>
            </a:r>
          </a:p>
          <a:p>
            <a:pPr algn="l"/>
            <a:r>
              <a:rPr lang="ru-RU" sz="700" i="1" dirty="0">
                <a:solidFill>
                  <a:srgbClr val="4C4C4C"/>
                </a:solidFill>
                <a:latin typeface="Arial" panose="020B0604020202020204" pitchFamily="34" charset="0"/>
              </a:rPr>
              <a:t> </a:t>
            </a:r>
            <a:endParaRPr lang="ru-RU" sz="7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Лауреаты второй степени:</a:t>
            </a:r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 Старшая группа МБДОУ № 53</a:t>
            </a:r>
            <a:r>
              <a:rPr lang="ru-RU" sz="16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 - г. Ленинск-Кузнецкий Кемеровской области </a:t>
            </a:r>
            <a:r>
              <a:rPr lang="ru-RU" sz="16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4"/>
              </a:rPr>
              <a:t>https://ok.ru/profile/554606423519/statuses/151547942925279</a:t>
            </a:r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ru-RU" sz="1600" b="0" i="1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Организатор и координатор акции – педагог-организатор Самойлова А. В.</a:t>
            </a:r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 Семья </a:t>
            </a:r>
            <a:r>
              <a:rPr lang="ru-RU" sz="1600" b="1" i="0" dirty="0" err="1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Свотневых</a:t>
            </a:r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ru-RU" sz="16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– г. Саратов </a:t>
            </a:r>
            <a:r>
              <a:rPr lang="ru-RU" sz="16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5"/>
              </a:rPr>
              <a:t>https://stapico.ru/photos/2313654502845932938/info/CAbwIMXHWWK</a:t>
            </a:r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 </a:t>
            </a:r>
            <a:r>
              <a:rPr lang="ru-RU" sz="1600" b="1" i="0" dirty="0" err="1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Киржайкина</a:t>
            </a:r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Евгения </a:t>
            </a:r>
            <a:r>
              <a:rPr lang="ru-RU" sz="16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– г. Ленинск-Кузнецкий Кемеровской области </a:t>
            </a:r>
            <a:r>
              <a:rPr lang="ru-RU" sz="16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6"/>
              </a:rPr>
              <a:t>https://ok.ru/group53695021056082/topic/151720584162130</a:t>
            </a:r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ru-RU" sz="1600" b="0" i="1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Организатор и координатор акции – педагог-организатор Самойлова А. В.</a:t>
            </a:r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437700"/>
      </p:ext>
    </p:extLst>
  </p:cSld>
  <p:clrMapOvr>
    <a:masterClrMapping/>
  </p:clrMapOvr>
  <p:transition spd="slow" advClick="0" advTm="16218">
    <p:wheel/>
  </p:transition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Номер слайда 5">
            <a:extLst>
              <a:ext uri="{FF2B5EF4-FFF2-40B4-BE49-F238E27FC236}">
                <a16:creationId xmlns:a16="http://schemas.microsoft.com/office/drawing/2014/main" id="{C6E992C1-E393-40E9-93E9-A4FD8FC99B10}"/>
              </a:ext>
            </a:extLst>
          </p:cNvPr>
          <p:cNvSpPr>
            <a:spLocks noGrp="1" noChangeArrowheads="1"/>
          </p:cNvSpPr>
          <p:nvPr>
            <p:ph type="sldNum" sz="quarter" idx="16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213" indent="-21431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250" indent="-171450">
              <a:spcBef>
                <a:spcPct val="200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0150" indent="-171450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3050" indent="-171450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9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8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7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46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F2DC2B3-360E-42BE-96CE-7A8F23633258}" type="slidenum">
              <a:rPr lang="ru-RU" altLang="ru-RU" sz="90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00</a:t>
            </a:fld>
            <a:endParaRPr lang="ru-RU" altLang="ru-RU" sz="900">
              <a:solidFill>
                <a:srgbClr val="898989"/>
              </a:solidFill>
            </a:endParaRP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99D3B12E-45F4-493F-9333-08CA6B2AF0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7335" y="98086"/>
            <a:ext cx="5550694" cy="497828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en-US" altLang="ru-RU" sz="1600" b="1" dirty="0">
                <a:solidFill>
                  <a:srgbClr val="7030A0"/>
                </a:solidFill>
                <a:latin typeface="Arial" panose="020B0604020202020204" pitchFamily="34" charset="0"/>
              </a:rPr>
              <a:t>«</a:t>
            </a:r>
            <a:r>
              <a:rPr lang="en-US" altLang="ru-RU" sz="1600" b="1" dirty="0" err="1">
                <a:solidFill>
                  <a:srgbClr val="7030A0"/>
                </a:solidFill>
                <a:latin typeface="Arial" panose="020B0604020202020204" pitchFamily="34" charset="0"/>
              </a:rPr>
              <a:t>Читайка</a:t>
            </a:r>
            <a:r>
              <a:rPr lang="en-US" altLang="ru-RU" sz="1600" b="1" dirty="0">
                <a:solidFill>
                  <a:srgbClr val="7030A0"/>
                </a:solidFill>
                <a:latin typeface="Arial" panose="020B0604020202020204" pitchFamily="34" charset="0"/>
              </a:rPr>
              <a:t>» </a:t>
            </a:r>
            <a:r>
              <a:rPr lang="en-US" altLang="ru-RU" sz="1600" dirty="0">
                <a:solidFill>
                  <a:srgbClr val="7030A0"/>
                </a:solidFill>
                <a:latin typeface="Arial" panose="020B0604020202020204" pitchFamily="34" charset="0"/>
              </a:rPr>
              <a:t>— </a:t>
            </a:r>
            <a:r>
              <a:rPr lang="en-US" altLang="ru-RU" sz="1600" dirty="0" err="1">
                <a:solidFill>
                  <a:srgbClr val="7030A0"/>
                </a:solidFill>
                <a:latin typeface="Arial" panose="020B0604020202020204" pitchFamily="34" charset="0"/>
              </a:rPr>
              <a:t>ежемесячный</a:t>
            </a:r>
            <a:r>
              <a:rPr lang="en-US" altLang="ru-RU" sz="1600" dirty="0">
                <a:solidFill>
                  <a:srgbClr val="7030A0"/>
                </a:solidFill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solidFill>
                  <a:srgbClr val="7030A0"/>
                </a:solidFill>
                <a:latin typeface="Arial" panose="020B0604020202020204" pitchFamily="34" charset="0"/>
              </a:rPr>
              <a:t>журнал</a:t>
            </a:r>
            <a:r>
              <a:rPr lang="en-US" altLang="ru-RU" sz="1600" dirty="0">
                <a:solidFill>
                  <a:srgbClr val="7030A0"/>
                </a:solidFill>
                <a:latin typeface="Arial" panose="020B0604020202020204" pitchFamily="34" charset="0"/>
              </a:rPr>
              <a:t> </a:t>
            </a:r>
            <a:br>
              <a:rPr lang="ru-RU" altLang="ru-RU" sz="1600" dirty="0">
                <a:solidFill>
                  <a:srgbClr val="7030A0"/>
                </a:solidFill>
                <a:latin typeface="Arial" panose="020B0604020202020204" pitchFamily="34" charset="0"/>
              </a:rPr>
            </a:br>
            <a:r>
              <a:rPr lang="en-US" altLang="ru-RU" sz="1600" dirty="0" err="1">
                <a:solidFill>
                  <a:srgbClr val="7030A0"/>
                </a:solidFill>
                <a:latin typeface="Arial" panose="020B0604020202020204" pitchFamily="34" charset="0"/>
              </a:rPr>
              <a:t>для</a:t>
            </a:r>
            <a:r>
              <a:rPr lang="en-US" altLang="ru-RU" sz="1600" dirty="0">
                <a:solidFill>
                  <a:srgbClr val="7030A0"/>
                </a:solidFill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solidFill>
                  <a:srgbClr val="7030A0"/>
                </a:solidFill>
                <a:latin typeface="Arial" panose="020B0604020202020204" pitchFamily="34" charset="0"/>
              </a:rPr>
              <a:t>детей</a:t>
            </a:r>
            <a:r>
              <a:rPr lang="en-US" altLang="ru-RU" sz="1600" dirty="0">
                <a:solidFill>
                  <a:srgbClr val="7030A0"/>
                </a:solidFill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solidFill>
                  <a:srgbClr val="7030A0"/>
                </a:solidFill>
                <a:latin typeface="Arial" panose="020B0604020202020204" pitchFamily="34" charset="0"/>
              </a:rPr>
              <a:t>младшего</a:t>
            </a:r>
            <a:r>
              <a:rPr lang="en-US" altLang="ru-RU" sz="1600" dirty="0">
                <a:solidFill>
                  <a:srgbClr val="7030A0"/>
                </a:solidFill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solidFill>
                  <a:srgbClr val="7030A0"/>
                </a:solidFill>
                <a:latin typeface="Arial" panose="020B0604020202020204" pitchFamily="34" charset="0"/>
              </a:rPr>
              <a:t>школьного</a:t>
            </a:r>
            <a:r>
              <a:rPr lang="en-US" altLang="ru-RU" sz="1600" dirty="0">
                <a:solidFill>
                  <a:srgbClr val="7030A0"/>
                </a:solidFill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solidFill>
                  <a:srgbClr val="7030A0"/>
                </a:solidFill>
                <a:latin typeface="Arial" panose="020B0604020202020204" pitchFamily="34" charset="0"/>
              </a:rPr>
              <a:t>возраста</a:t>
            </a:r>
            <a:r>
              <a:rPr lang="en-US" altLang="ru-RU" sz="1600" dirty="0">
                <a:solidFill>
                  <a:srgbClr val="7030A0"/>
                </a:solidFill>
                <a:latin typeface="Arial" panose="020B0604020202020204" pitchFamily="34" charset="0"/>
              </a:rPr>
              <a:t> </a:t>
            </a:r>
            <a:endParaRPr lang="ru-RU" altLang="ru-RU" sz="1600" dirty="0">
              <a:solidFill>
                <a:srgbClr val="7030A0"/>
              </a:solidFill>
              <a:latin typeface="Arial" panose="020B0604020202020204" pitchFamily="34" charset="0"/>
            </a:endParaRPr>
          </a:p>
          <a:p>
            <a:pPr algn="ctr">
              <a:spcBef>
                <a:spcPct val="0"/>
              </a:spcBef>
              <a:buFontTx/>
              <a:buNone/>
              <a:defRPr/>
            </a:pPr>
            <a:endParaRPr lang="ru-RU" altLang="ru-RU" sz="900" dirty="0">
              <a:latin typeface="Arial" panose="020B0604020202020204" pitchFamily="34" charset="0"/>
            </a:endParaRPr>
          </a:p>
          <a:p>
            <a:pPr algn="just">
              <a:spcBef>
                <a:spcPct val="0"/>
              </a:spcBef>
              <a:buFontTx/>
              <a:buNone/>
              <a:defRPr/>
            </a:pPr>
            <a:r>
              <a:rPr lang="en-US" altLang="ru-RU" sz="1600" dirty="0" err="1">
                <a:latin typeface="Arial" panose="020B0604020202020204" pitchFamily="34" charset="0"/>
              </a:rPr>
              <a:t>Задача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журнала</a:t>
            </a:r>
            <a:r>
              <a:rPr lang="en-US" altLang="ru-RU" sz="1600" dirty="0">
                <a:latin typeface="Arial" panose="020B0604020202020204" pitchFamily="34" charset="0"/>
              </a:rPr>
              <a:t> — </a:t>
            </a:r>
            <a:r>
              <a:rPr lang="en-US" altLang="ru-RU" sz="1600" dirty="0" err="1">
                <a:latin typeface="Arial" panose="020B0604020202020204" pitchFamily="34" charset="0"/>
              </a:rPr>
              <a:t>через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юных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читателей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привлечь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их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родителей</a:t>
            </a:r>
            <a:r>
              <a:rPr lang="en-US" altLang="ru-RU" sz="1600" dirty="0">
                <a:latin typeface="Arial" panose="020B0604020202020204" pitchFamily="34" charset="0"/>
              </a:rPr>
              <a:t> к </a:t>
            </a:r>
            <a:r>
              <a:rPr lang="en-US" altLang="ru-RU" sz="1600" dirty="0" err="1">
                <a:latin typeface="Arial" panose="020B0604020202020204" pitchFamily="34" charset="0"/>
              </a:rPr>
              <a:t>старым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добрым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традициям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семейного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чтения</a:t>
            </a:r>
            <a:r>
              <a:rPr lang="en-US" altLang="ru-RU" sz="1600" dirty="0">
                <a:latin typeface="Arial" panose="020B0604020202020204" pitchFamily="34" charset="0"/>
              </a:rPr>
              <a:t>, </a:t>
            </a:r>
            <a:r>
              <a:rPr lang="en-US" altLang="ru-RU" sz="1600" dirty="0" err="1">
                <a:latin typeface="Arial" panose="020B0604020202020204" pitchFamily="34" charset="0"/>
              </a:rPr>
              <a:t>создать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на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страницах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журнала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живой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творческий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канал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общения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детей</a:t>
            </a:r>
            <a:r>
              <a:rPr lang="en-US" altLang="ru-RU" sz="1600" dirty="0">
                <a:latin typeface="Arial" panose="020B0604020202020204" pitchFamily="34" charset="0"/>
              </a:rPr>
              <a:t> и </a:t>
            </a:r>
            <a:r>
              <a:rPr lang="en-US" altLang="ru-RU" sz="1600" dirty="0" err="1">
                <a:latin typeface="Arial" panose="020B0604020202020204" pitchFamily="34" charset="0"/>
              </a:rPr>
              <a:t>родителей</a:t>
            </a:r>
            <a:r>
              <a:rPr lang="en-US" altLang="ru-RU" sz="1600" dirty="0">
                <a:latin typeface="Arial" panose="020B0604020202020204" pitchFamily="34" charset="0"/>
              </a:rPr>
              <a:t>.  </a:t>
            </a:r>
            <a:br>
              <a:rPr lang="en-US" altLang="ru-RU" sz="1600" dirty="0">
                <a:latin typeface="Arial" panose="020B0604020202020204" pitchFamily="34" charset="0"/>
              </a:rPr>
            </a:br>
            <a:r>
              <a:rPr lang="en-US" altLang="ru-RU" sz="1600" dirty="0">
                <a:latin typeface="Arial" panose="020B0604020202020204" pitchFamily="34" charset="0"/>
              </a:rPr>
              <a:t>В </a:t>
            </a:r>
            <a:r>
              <a:rPr lang="en-US" altLang="ru-RU" sz="1600" dirty="0" err="1">
                <a:latin typeface="Arial" panose="020B0604020202020204" pitchFamily="34" charset="0"/>
              </a:rPr>
              <a:t>каждом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номере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журнала</a:t>
            </a:r>
            <a:r>
              <a:rPr lang="en-US" altLang="ru-RU" sz="1600" dirty="0">
                <a:latin typeface="Arial" panose="020B0604020202020204" pitchFamily="34" charset="0"/>
              </a:rPr>
              <a:t>: </a:t>
            </a:r>
            <a:r>
              <a:rPr lang="en-US" altLang="ru-RU" sz="1600" dirty="0" err="1">
                <a:latin typeface="Arial" panose="020B0604020202020204" pitchFamily="34" charset="0"/>
              </a:rPr>
              <a:t>стихи</a:t>
            </a:r>
            <a:r>
              <a:rPr lang="en-US" altLang="ru-RU" sz="1600" dirty="0">
                <a:latin typeface="Arial" panose="020B0604020202020204" pitchFamily="34" charset="0"/>
              </a:rPr>
              <a:t>, </a:t>
            </a:r>
            <a:r>
              <a:rPr lang="en-US" altLang="ru-RU" sz="1600" dirty="0" err="1">
                <a:latin typeface="Arial" panose="020B0604020202020204" pitchFamily="34" charset="0"/>
              </a:rPr>
              <a:t>сказки</a:t>
            </a:r>
            <a:r>
              <a:rPr lang="en-US" altLang="ru-RU" sz="1600" dirty="0">
                <a:latin typeface="Arial" panose="020B0604020202020204" pitchFamily="34" charset="0"/>
              </a:rPr>
              <a:t> и </a:t>
            </a:r>
            <a:r>
              <a:rPr lang="en-US" altLang="ru-RU" sz="1600" dirty="0" err="1">
                <a:latin typeface="Arial" panose="020B0604020202020204" pitchFamily="34" charset="0"/>
              </a:rPr>
              <a:t>рассказы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лучших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современных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детских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писателей</a:t>
            </a:r>
            <a:r>
              <a:rPr lang="en-US" altLang="ru-RU" sz="1600" dirty="0">
                <a:latin typeface="Arial" panose="020B0604020202020204" pitchFamily="34" charset="0"/>
              </a:rPr>
              <a:t>, </a:t>
            </a:r>
            <a:r>
              <a:rPr lang="en-US" altLang="ru-RU" sz="1600" dirty="0" err="1">
                <a:latin typeface="Arial" panose="020B0604020202020204" pitchFamily="34" charset="0"/>
              </a:rPr>
              <a:t>кроссворды</a:t>
            </a:r>
            <a:r>
              <a:rPr lang="en-US" altLang="ru-RU" sz="1600" dirty="0">
                <a:latin typeface="Arial" panose="020B0604020202020204" pitchFamily="34" charset="0"/>
              </a:rPr>
              <a:t> и </a:t>
            </a:r>
            <a:r>
              <a:rPr lang="en-US" altLang="ru-RU" sz="1600" dirty="0" err="1">
                <a:latin typeface="Arial" panose="020B0604020202020204" pitchFamily="34" charset="0"/>
              </a:rPr>
              <a:t>игры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по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знаменитым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литературным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произведениям</a:t>
            </a:r>
            <a:r>
              <a:rPr lang="en-US" altLang="ru-RU" sz="1600" dirty="0">
                <a:latin typeface="Arial" panose="020B0604020202020204" pitchFamily="34" charset="0"/>
              </a:rPr>
              <a:t>, </a:t>
            </a:r>
            <a:r>
              <a:rPr lang="en-US" altLang="ru-RU" sz="1600" dirty="0" err="1">
                <a:latin typeface="Arial" panose="020B0604020202020204" pitchFamily="34" charset="0"/>
              </a:rPr>
              <a:t>поэтический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мастер-класс</a:t>
            </a:r>
            <a:r>
              <a:rPr lang="ru-RU" altLang="ru-RU" sz="1600" dirty="0">
                <a:latin typeface="Arial" panose="020B0604020202020204" pitchFamily="34" charset="0"/>
              </a:rPr>
              <a:t>, а также с</a:t>
            </a:r>
            <a:r>
              <a:rPr lang="en-US" altLang="ru-RU" sz="1600" dirty="0" err="1">
                <a:latin typeface="Arial" panose="020B0604020202020204" pitchFamily="34" charset="0"/>
              </a:rPr>
              <a:t>пециальн</a:t>
            </a:r>
            <a:r>
              <a:rPr lang="ru-RU" altLang="ru-RU" sz="1600" dirty="0" err="1">
                <a:latin typeface="Arial" panose="020B0604020202020204" pitchFamily="34" charset="0"/>
              </a:rPr>
              <a:t>ое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приложение</a:t>
            </a:r>
            <a:r>
              <a:rPr lang="en-US" altLang="ru-RU" sz="1600" dirty="0">
                <a:latin typeface="Arial" panose="020B0604020202020204" pitchFamily="34" charset="0"/>
              </a:rPr>
              <a:t> с </a:t>
            </a:r>
            <a:r>
              <a:rPr lang="en-US" altLang="ru-RU" sz="1600" dirty="0" err="1">
                <a:latin typeface="Arial" panose="020B0604020202020204" pitchFamily="34" charset="0"/>
              </a:rPr>
              <a:t>подсказками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ведущих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специалистов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по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психологии</a:t>
            </a:r>
            <a:r>
              <a:rPr lang="en-US" altLang="ru-RU" sz="1600" dirty="0">
                <a:latin typeface="Arial" panose="020B0604020202020204" pitchFamily="34" charset="0"/>
              </a:rPr>
              <a:t> и </a:t>
            </a:r>
            <a:r>
              <a:rPr lang="en-US" altLang="ru-RU" sz="1600" dirty="0" err="1">
                <a:latin typeface="Arial" panose="020B0604020202020204" pitchFamily="34" charset="0"/>
              </a:rPr>
              <a:t>педагогике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детского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чтения</a:t>
            </a:r>
            <a:r>
              <a:rPr lang="en-US" altLang="ru-RU" sz="1600" dirty="0">
                <a:latin typeface="Arial" panose="020B0604020202020204" pitchFamily="34" charset="0"/>
              </a:rPr>
              <a:t>.</a:t>
            </a:r>
          </a:p>
          <a:p>
            <a:pPr>
              <a:spcBef>
                <a:spcPct val="0"/>
              </a:spcBef>
              <a:buFontTx/>
              <a:buNone/>
              <a:defRPr/>
            </a:pPr>
            <a:endParaRPr lang="en-US" altLang="ru-RU" sz="105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FontTx/>
              <a:buNone/>
              <a:defRPr/>
            </a:pPr>
            <a:r>
              <a:rPr lang="en-US" altLang="ru-RU" sz="1600" b="1" dirty="0" err="1">
                <a:latin typeface="Arial" panose="020B0604020202020204" pitchFamily="34" charset="0"/>
              </a:rPr>
              <a:t>Подписные</a:t>
            </a:r>
            <a:r>
              <a:rPr lang="en-US" altLang="ru-RU" sz="1600" b="1" dirty="0">
                <a:latin typeface="Arial" panose="020B0604020202020204" pitchFamily="34" charset="0"/>
              </a:rPr>
              <a:t> </a:t>
            </a:r>
            <a:r>
              <a:rPr lang="en-US" altLang="ru-RU" sz="1600" b="1" dirty="0" err="1">
                <a:latin typeface="Arial" panose="020B0604020202020204" pitchFamily="34" charset="0"/>
              </a:rPr>
              <a:t>индексы</a:t>
            </a:r>
            <a:r>
              <a:rPr lang="en-US" altLang="ru-RU" sz="1600" b="1" dirty="0">
                <a:latin typeface="Arial" panose="020B0604020202020204" pitchFamily="34" charset="0"/>
              </a:rPr>
              <a:t> </a:t>
            </a:r>
            <a:r>
              <a:rPr lang="en-US" altLang="ru-RU" sz="1600" b="1" dirty="0" err="1">
                <a:latin typeface="Arial" panose="020B0604020202020204" pitchFamily="34" charset="0"/>
              </a:rPr>
              <a:t>по</a:t>
            </a:r>
            <a:r>
              <a:rPr lang="en-US" altLang="ru-RU" sz="1600" b="1" dirty="0">
                <a:latin typeface="Arial" panose="020B0604020202020204" pitchFamily="34" charset="0"/>
              </a:rPr>
              <a:t> </a:t>
            </a:r>
            <a:r>
              <a:rPr lang="en-US" altLang="ru-RU" sz="1600" b="1" dirty="0" err="1">
                <a:latin typeface="Arial" panose="020B0604020202020204" pitchFamily="34" charset="0"/>
              </a:rPr>
              <a:t>каталогам</a:t>
            </a:r>
            <a:r>
              <a:rPr lang="en-US" altLang="ru-RU" sz="1600" b="1" dirty="0">
                <a:latin typeface="Arial" panose="020B0604020202020204" pitchFamily="34" charset="0"/>
              </a:rPr>
              <a:t>:</a:t>
            </a:r>
            <a:r>
              <a:rPr lang="en-US" altLang="ru-RU" sz="1600" dirty="0">
                <a:latin typeface="Arial" panose="020B0604020202020204" pitchFamily="34" charset="0"/>
              </a:rPr>
              <a:t> </a:t>
            </a:r>
          </a:p>
          <a:p>
            <a:pPr>
              <a:spcBef>
                <a:spcPct val="0"/>
              </a:spcBef>
              <a:buFontTx/>
              <a:buChar char="•"/>
              <a:defRPr/>
            </a:pP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dirty="0">
                <a:latin typeface="Arial" panose="020B0604020202020204" pitchFamily="34" charset="0"/>
              </a:rPr>
              <a:t>«Почта России»</a:t>
            </a:r>
            <a:r>
              <a:rPr lang="en-US" altLang="ru-RU" sz="1600" dirty="0">
                <a:latin typeface="Arial" panose="020B0604020202020204" pitchFamily="34" charset="0"/>
              </a:rPr>
              <a:t> - </a:t>
            </a:r>
            <a:r>
              <a:rPr lang="ru-RU" altLang="ru-RU" sz="1600" dirty="0">
                <a:latin typeface="Arial" panose="020B0604020202020204" pitchFamily="34" charset="0"/>
              </a:rPr>
              <a:t>П3758</a:t>
            </a:r>
          </a:p>
          <a:p>
            <a:pPr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 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>
                <a:latin typeface="Arial" panose="020B0604020202020204" pitchFamily="34" charset="0"/>
                <a:hlinkClick r:id="rId2"/>
              </a:rPr>
              <a:t>https://podpiska.pochta.ru/press/</a:t>
            </a:r>
            <a:r>
              <a:rPr lang="ru-RU" altLang="ru-RU" sz="1600" dirty="0">
                <a:latin typeface="Arial" panose="020B0604020202020204" pitchFamily="34" charset="0"/>
                <a:hlinkClick r:id="rId2"/>
              </a:rPr>
              <a:t>П3758</a:t>
            </a:r>
            <a:endParaRPr lang="en-US" altLang="ru-RU" sz="160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FontTx/>
              <a:buChar char="•"/>
              <a:defRPr/>
            </a:pPr>
            <a:r>
              <a:rPr lang="en-US" altLang="ru-RU" sz="1600" dirty="0">
                <a:latin typeface="Arial" panose="020B0604020202020204" pitchFamily="34" charset="0"/>
              </a:rPr>
              <a:t> «</a:t>
            </a:r>
            <a:r>
              <a:rPr lang="en-US" altLang="ru-RU" sz="1600" dirty="0" err="1">
                <a:latin typeface="Arial" panose="020B0604020202020204" pitchFamily="34" charset="0"/>
              </a:rPr>
              <a:t>Роспечать</a:t>
            </a:r>
            <a:r>
              <a:rPr lang="en-US" altLang="ru-RU" sz="1600" dirty="0">
                <a:latin typeface="Arial" panose="020B0604020202020204" pitchFamily="34" charset="0"/>
              </a:rPr>
              <a:t>» – 20246, </a:t>
            </a:r>
            <a:r>
              <a:rPr lang="en-US" altLang="ru-RU" sz="1600" dirty="0" err="1">
                <a:latin typeface="Arial" panose="020B0604020202020204" pitchFamily="34" charset="0"/>
              </a:rPr>
              <a:t>на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год</a:t>
            </a:r>
            <a:r>
              <a:rPr lang="en-US" altLang="ru-RU" sz="1600" dirty="0">
                <a:latin typeface="Arial" panose="020B0604020202020204" pitchFamily="34" charset="0"/>
              </a:rPr>
              <a:t> – 80389  </a:t>
            </a:r>
          </a:p>
          <a:p>
            <a:pPr>
              <a:spcBef>
                <a:spcPct val="0"/>
              </a:spcBef>
              <a:buFontTx/>
              <a:buChar char="•"/>
              <a:defRPr/>
            </a:pPr>
            <a:r>
              <a:rPr lang="en-US" altLang="ru-RU" sz="1600" dirty="0">
                <a:latin typeface="Arial" panose="020B0604020202020204" pitchFamily="34" charset="0"/>
              </a:rPr>
              <a:t> «</a:t>
            </a:r>
            <a:r>
              <a:rPr lang="en-US" altLang="ru-RU" sz="1600" dirty="0" err="1">
                <a:latin typeface="Arial" panose="020B0604020202020204" pitchFamily="34" charset="0"/>
              </a:rPr>
              <a:t>Пресса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России</a:t>
            </a:r>
            <a:r>
              <a:rPr lang="en-US" altLang="ru-RU" sz="1600" dirty="0">
                <a:latin typeface="Arial" panose="020B0604020202020204" pitchFamily="34" charset="0"/>
              </a:rPr>
              <a:t>» – 10457  </a:t>
            </a:r>
          </a:p>
          <a:p>
            <a:pPr>
              <a:spcBef>
                <a:spcPct val="0"/>
              </a:spcBef>
              <a:buFontTx/>
              <a:buChar char="•"/>
              <a:defRPr/>
            </a:pPr>
            <a:r>
              <a:rPr lang="en-US" altLang="ru-RU" sz="1600" dirty="0">
                <a:latin typeface="Arial" panose="020B0604020202020204" pitchFamily="34" charset="0"/>
              </a:rPr>
              <a:t> «</a:t>
            </a:r>
            <a:r>
              <a:rPr lang="en-US" altLang="ru-RU" sz="1600" dirty="0" err="1">
                <a:latin typeface="Arial" panose="020B0604020202020204" pitchFamily="34" charset="0"/>
              </a:rPr>
              <a:t>Урал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пресс</a:t>
            </a:r>
            <a:r>
              <a:rPr lang="en-US" altLang="ru-RU" sz="1600" dirty="0">
                <a:latin typeface="Arial" panose="020B0604020202020204" pitchFamily="34" charset="0"/>
              </a:rPr>
              <a:t>» – 20246, </a:t>
            </a:r>
            <a:r>
              <a:rPr lang="en-US" altLang="ru-RU" sz="1600" dirty="0" err="1">
                <a:latin typeface="Arial" panose="020B0604020202020204" pitchFamily="34" charset="0"/>
              </a:rPr>
              <a:t>на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en-US" altLang="ru-RU" sz="1600" dirty="0" err="1">
                <a:latin typeface="Arial" panose="020B0604020202020204" pitchFamily="34" charset="0"/>
              </a:rPr>
              <a:t>год</a:t>
            </a:r>
            <a:r>
              <a:rPr lang="en-US" altLang="ru-RU" sz="1600" dirty="0">
                <a:latin typeface="Arial" panose="020B0604020202020204" pitchFamily="34" charset="0"/>
              </a:rPr>
              <a:t> –80389 </a:t>
            </a:r>
            <a:br>
              <a:rPr lang="ru-RU" altLang="ru-RU" sz="1600" dirty="0">
                <a:latin typeface="Arial" panose="020B0604020202020204" pitchFamily="34" charset="0"/>
              </a:rPr>
            </a:br>
            <a:r>
              <a:rPr lang="en-US" altLang="ru-RU" sz="1600" dirty="0">
                <a:latin typeface="Arial" panose="020B0604020202020204" pitchFamily="34" charset="0"/>
              </a:rPr>
              <a:t>(</a:t>
            </a:r>
            <a:r>
              <a:rPr lang="en-US" altLang="ru-RU" sz="1600" dirty="0">
                <a:latin typeface="Arial" panose="020B0604020202020204" pitchFamily="34" charset="0"/>
                <a:hlinkClick r:id="rId3"/>
              </a:rPr>
              <a:t>www.ural-press.ru</a:t>
            </a:r>
            <a:r>
              <a:rPr lang="en-US" altLang="ru-RU" sz="1600" dirty="0">
                <a:latin typeface="Arial" panose="020B0604020202020204" pitchFamily="34" charset="0"/>
              </a:rPr>
              <a:t>) </a:t>
            </a:r>
            <a:endParaRPr lang="ru-RU" altLang="ru-RU" sz="1600" dirty="0">
              <a:latin typeface="Arial" panose="020B0604020202020204" pitchFamily="34" charset="0"/>
            </a:endParaRPr>
          </a:p>
        </p:txBody>
      </p:sp>
      <p:pic>
        <p:nvPicPr>
          <p:cNvPr id="98308" name="Picture 2">
            <a:extLst>
              <a:ext uri="{FF2B5EF4-FFF2-40B4-BE49-F238E27FC236}">
                <a16:creationId xmlns:a16="http://schemas.microsoft.com/office/drawing/2014/main" id="{26B3DE72-109E-49E8-BF33-110E36C3D3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222" y="411956"/>
            <a:ext cx="2970609" cy="4316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8267805"/>
      </p:ext>
    </p:extLst>
  </p:cSld>
  <p:clrMapOvr>
    <a:masterClrMapping/>
  </p:clrMapOvr>
  <p:transition spd="med">
    <p:dissolve/>
  </p:transition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Номер слайда 5">
            <a:extLst>
              <a:ext uri="{FF2B5EF4-FFF2-40B4-BE49-F238E27FC236}">
                <a16:creationId xmlns:a16="http://schemas.microsoft.com/office/drawing/2014/main" id="{15404220-DA05-467E-93D3-4063ACB7EB8F}"/>
              </a:ext>
            </a:extLst>
          </p:cNvPr>
          <p:cNvSpPr>
            <a:spLocks noGrp="1" noChangeArrowheads="1"/>
          </p:cNvSpPr>
          <p:nvPr>
            <p:ph type="sldNum" sz="quarter" idx="16"/>
          </p:nvPr>
        </p:nvSpPr>
        <p:spPr bwMode="auto">
          <a:xfrm>
            <a:off x="6534150" y="4788694"/>
            <a:ext cx="1207294" cy="16787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213" indent="-21431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250" indent="-171450">
              <a:spcBef>
                <a:spcPct val="200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0150" indent="-171450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3050" indent="-171450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9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8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7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46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B966DC3D-EB49-4059-B1AB-8B9CDE4D039B}" type="slidenum">
              <a:rPr lang="ru-RU" altLang="ru-RU" sz="90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01</a:t>
            </a:fld>
            <a:endParaRPr lang="ru-RU" altLang="ru-RU" sz="900">
              <a:solidFill>
                <a:srgbClr val="898989"/>
              </a:solidFill>
            </a:endParaRPr>
          </a:p>
        </p:txBody>
      </p:sp>
      <p:pic>
        <p:nvPicPr>
          <p:cNvPr id="131075" name="Рисунок 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CC8155C0-35E9-493C-8151-1FC888D7A1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023" y="419100"/>
            <a:ext cx="1297781" cy="196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1076" name="Рисунок 2" descr="Изображение выглядит как знак, устройство, держит&#10;&#10;Автоматически созданное описание">
            <a:extLst>
              <a:ext uri="{FF2B5EF4-FFF2-40B4-BE49-F238E27FC236}">
                <a16:creationId xmlns:a16="http://schemas.microsoft.com/office/drawing/2014/main" id="{DB05F303-B6BB-43E9-B65A-4E61C87F30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5925" y="2827735"/>
            <a:ext cx="1418035" cy="1963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1077" name="Picture 7" descr="selfi">
            <a:extLst>
              <a:ext uri="{FF2B5EF4-FFF2-40B4-BE49-F238E27FC236}">
                <a16:creationId xmlns:a16="http://schemas.microsoft.com/office/drawing/2014/main" id="{30007619-A31E-4522-B1F2-C9D73D3A15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7804" y="2827735"/>
            <a:ext cx="1334690" cy="1963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1078" name="Рисунок 2">
            <a:extLst>
              <a:ext uri="{FF2B5EF4-FFF2-40B4-BE49-F238E27FC236}">
                <a16:creationId xmlns:a16="http://schemas.microsoft.com/office/drawing/2014/main" id="{5B678904-660E-47C1-A370-CA02955215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069" y="2827735"/>
            <a:ext cx="1387079" cy="1957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1079" name="Picture 7">
            <a:extLst>
              <a:ext uri="{FF2B5EF4-FFF2-40B4-BE49-F238E27FC236}">
                <a16:creationId xmlns:a16="http://schemas.microsoft.com/office/drawing/2014/main" id="{771137AB-5503-4538-8961-6E2331012A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2835" y="417910"/>
            <a:ext cx="1387078" cy="1960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D4583D2-4225-4533-847D-3145E4816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8941" y="44053"/>
            <a:ext cx="4195763" cy="4785926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ru-RU" altLang="ru-RU" sz="1650" b="1" dirty="0">
                <a:solidFill>
                  <a:srgbClr val="7030A0"/>
                </a:solidFill>
                <a:latin typeface="Arial" panose="020B0604020202020204" pitchFamily="34" charset="0"/>
              </a:rPr>
              <a:t>«В помощь педагогу-библиотекарю»: </a:t>
            </a:r>
            <a:r>
              <a:rPr lang="ru-RU" altLang="ru-RU" sz="1500" b="1" dirty="0">
                <a:solidFill>
                  <a:srgbClr val="7030A0"/>
                </a:solidFill>
                <a:latin typeface="Arial" panose="020B0604020202020204" pitchFamily="34" charset="0"/>
              </a:rPr>
              <a:t>«Профессиональная библиотека школьного библиотекаря». Серия 1»</a:t>
            </a:r>
            <a:endParaRPr lang="ru-RU" altLang="ru-RU" sz="1725" b="1" dirty="0">
              <a:solidFill>
                <a:srgbClr val="7030A0"/>
              </a:solidFill>
              <a:latin typeface="Arial" panose="020B0604020202020204" pitchFamily="34" charset="0"/>
            </a:endParaRPr>
          </a:p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ru-RU" altLang="ru-RU" sz="700" b="1" dirty="0">
                <a:solidFill>
                  <a:srgbClr val="7030A0"/>
                </a:solidFill>
                <a:latin typeface="Arial" panose="020B0604020202020204" pitchFamily="34" charset="0"/>
              </a:rPr>
              <a:t> </a:t>
            </a:r>
          </a:p>
          <a:p>
            <a:pPr>
              <a:spcBef>
                <a:spcPct val="0"/>
              </a:spcBef>
              <a:buFontTx/>
              <a:buNone/>
              <a:defRPr/>
            </a:pPr>
            <a:r>
              <a:rPr lang="ru-RU" altLang="ru-RU" sz="1350" dirty="0">
                <a:latin typeface="Arial" panose="020B0604020202020204" pitchFamily="34" charset="0"/>
              </a:rPr>
              <a:t>В серии 1 издаются книги, известных ученых и специалистов-профессионалов, позволяющие  быть в курсе всего нового в библиотечном деле, постоянно повышать свою квалификацию, формировать свое профессиональное сознание, находить новые формы и методы работы, постоянно пополнять свою профессиональную библиотеку качественной литературой. Теоретический материал гармонично сочетается с практическими разработками: тестами, сценариями.</a:t>
            </a:r>
            <a:endParaRPr lang="en-US" altLang="ru-RU" sz="135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FontTx/>
              <a:buNone/>
              <a:defRPr/>
            </a:pPr>
            <a:r>
              <a:rPr lang="ru-RU" altLang="ru-RU" sz="1600" b="1" dirty="0">
                <a:solidFill>
                  <a:srgbClr val="7030A0"/>
                </a:solidFill>
                <a:latin typeface="Arial" panose="020B0604020202020204" pitchFamily="34" charset="0"/>
              </a:rPr>
              <a:t>Подписные индексы по каталогам: </a:t>
            </a:r>
          </a:p>
          <a:p>
            <a:pPr>
              <a:spcBef>
                <a:spcPct val="0"/>
              </a:spcBef>
              <a:buFontTx/>
              <a:buNone/>
              <a:defRPr/>
            </a:pPr>
            <a:endParaRPr lang="ru-RU" altLang="ru-RU" sz="700" dirty="0">
              <a:latin typeface="Arial" panose="020B0604020202020204" pitchFamily="34" charset="0"/>
            </a:endParaRPr>
          </a:p>
          <a:p>
            <a:pPr marL="342892" indent="-342892">
              <a:spcBef>
                <a:spcPct val="0"/>
              </a:spcBef>
              <a:buFont typeface="+mj-lt"/>
              <a:buAutoNum type="arabicPeriod"/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 Почта России – П37</a:t>
            </a:r>
            <a:r>
              <a:rPr lang="en-US" altLang="ru-RU" sz="1600" dirty="0">
                <a:latin typeface="Arial" panose="020B0604020202020204" pitchFamily="34" charset="0"/>
              </a:rPr>
              <a:t>60</a:t>
            </a:r>
            <a:r>
              <a:rPr lang="ru-RU" altLang="ru-RU" sz="1600" dirty="0">
                <a:latin typeface="Arial" panose="020B0604020202020204" pitchFamily="34" charset="0"/>
              </a:rPr>
              <a:t> 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br>
              <a:rPr lang="ru-RU" altLang="ru-RU" sz="1600" dirty="0">
                <a:latin typeface="Arial" panose="020B0604020202020204" pitchFamily="34" charset="0"/>
              </a:rPr>
            </a:br>
            <a:r>
              <a:rPr lang="en-US" altLang="ru-RU" sz="1600" dirty="0">
                <a:latin typeface="Arial" panose="020B0604020202020204" pitchFamily="34" charset="0"/>
                <a:hlinkClick r:id="rId7"/>
              </a:rPr>
              <a:t>https://podpiska.pochta.ru/press/</a:t>
            </a:r>
            <a:r>
              <a:rPr lang="ru-RU" altLang="ru-RU" sz="1600" dirty="0">
                <a:latin typeface="Arial" panose="020B0604020202020204" pitchFamily="34" charset="0"/>
                <a:hlinkClick r:id="rId7"/>
              </a:rPr>
              <a:t>П37</a:t>
            </a:r>
            <a:r>
              <a:rPr lang="en-US" altLang="ru-RU" sz="1600" dirty="0">
                <a:latin typeface="Arial" panose="020B0604020202020204" pitchFamily="34" charset="0"/>
                <a:hlinkClick r:id="rId7"/>
              </a:rPr>
              <a:t>60</a:t>
            </a:r>
            <a:endParaRPr lang="ru-RU" altLang="ru-RU" sz="1600" dirty="0">
              <a:latin typeface="Arial" panose="020B0604020202020204" pitchFamily="34" charset="0"/>
            </a:endParaRPr>
          </a:p>
          <a:p>
            <a:pPr marL="342892" indent="-342892">
              <a:spcBef>
                <a:spcPct val="0"/>
              </a:spcBef>
              <a:buFont typeface="+mj-lt"/>
              <a:buAutoNum type="arabicPeriod"/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«Роспечать» – 80</a:t>
            </a:r>
            <a:r>
              <a:rPr lang="en-US" altLang="ru-RU" sz="1600" dirty="0">
                <a:latin typeface="Arial" panose="020B0604020202020204" pitchFamily="34" charset="0"/>
              </a:rPr>
              <a:t>519</a:t>
            </a:r>
            <a:r>
              <a:rPr lang="ru-RU" altLang="ru-RU" sz="1600" dirty="0">
                <a:latin typeface="Arial" panose="020B0604020202020204" pitchFamily="34" charset="0"/>
              </a:rPr>
              <a:t>, на год – </a:t>
            </a:r>
            <a:r>
              <a:rPr lang="en-US" altLang="ru-RU" sz="1600" dirty="0">
                <a:latin typeface="Arial" panose="020B0604020202020204" pitchFamily="34" charset="0"/>
              </a:rPr>
              <a:t>80834</a:t>
            </a:r>
            <a:r>
              <a:rPr lang="ru-RU" altLang="ru-RU" sz="1600" dirty="0">
                <a:latin typeface="Arial" panose="020B0604020202020204" pitchFamily="34" charset="0"/>
              </a:rPr>
              <a:t>  </a:t>
            </a:r>
          </a:p>
          <a:p>
            <a:pPr marL="342892" indent="-342892">
              <a:spcBef>
                <a:spcPct val="0"/>
              </a:spcBef>
              <a:buFont typeface="+mj-lt"/>
              <a:buAutoNum type="arabicPeriod"/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 «Урал пресс» – 80</a:t>
            </a:r>
            <a:r>
              <a:rPr lang="en-US" altLang="ru-RU" sz="1600" dirty="0">
                <a:latin typeface="Arial" panose="020B0604020202020204" pitchFamily="34" charset="0"/>
              </a:rPr>
              <a:t>5</a:t>
            </a:r>
            <a:r>
              <a:rPr lang="ru-RU" altLang="ru-RU" sz="1600" dirty="0">
                <a:latin typeface="Arial" panose="020B0604020202020204" pitchFamily="34" charset="0"/>
              </a:rPr>
              <a:t>1</a:t>
            </a:r>
            <a:r>
              <a:rPr lang="en-US" altLang="ru-RU" sz="1600" dirty="0">
                <a:latin typeface="Arial" panose="020B0604020202020204" pitchFamily="34" charset="0"/>
              </a:rPr>
              <a:t>9</a:t>
            </a:r>
            <a:r>
              <a:rPr lang="ru-RU" altLang="ru-RU" sz="1600" dirty="0">
                <a:latin typeface="Arial" panose="020B0604020202020204" pitchFamily="34" charset="0"/>
              </a:rPr>
              <a:t>, на год – </a:t>
            </a:r>
            <a:r>
              <a:rPr lang="en-US" altLang="ru-RU" sz="1600" dirty="0">
                <a:latin typeface="Arial" panose="020B0604020202020204" pitchFamily="34" charset="0"/>
              </a:rPr>
              <a:t>80834</a:t>
            </a:r>
            <a:r>
              <a:rPr lang="ru-RU" altLang="ru-RU" sz="1600" dirty="0">
                <a:latin typeface="Arial" panose="020B0604020202020204" pitchFamily="34" charset="0"/>
              </a:rPr>
              <a:t>  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dirty="0">
                <a:latin typeface="Arial" panose="020B0604020202020204" pitchFamily="34" charset="0"/>
              </a:rPr>
              <a:t>(</a:t>
            </a:r>
            <a:r>
              <a:rPr lang="ru-RU" altLang="ru-RU" sz="1600" dirty="0">
                <a:latin typeface="Arial" panose="020B0604020202020204" pitchFamily="34" charset="0"/>
                <a:hlinkClick r:id="rId8"/>
              </a:rPr>
              <a:t>www.ural-press.ru</a:t>
            </a:r>
            <a:r>
              <a:rPr lang="ru-RU" altLang="ru-RU" sz="1600" dirty="0">
                <a:latin typeface="Arial" panose="020B0604020202020204" pitchFamily="34" charset="0"/>
              </a:rPr>
              <a:t>) </a:t>
            </a:r>
          </a:p>
        </p:txBody>
      </p:sp>
      <p:pic>
        <p:nvPicPr>
          <p:cNvPr id="131081" name="Рисунок 9">
            <a:extLst>
              <a:ext uri="{FF2B5EF4-FFF2-40B4-BE49-F238E27FC236}">
                <a16:creationId xmlns:a16="http://schemas.microsoft.com/office/drawing/2014/main" id="{4D95CE24-4203-4D1C-910C-0C0BECE5B6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6606" y="417910"/>
            <a:ext cx="1385888" cy="1960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dissolve/>
  </p:transition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8" name="Номер слайда 5">
            <a:extLst>
              <a:ext uri="{FF2B5EF4-FFF2-40B4-BE49-F238E27FC236}">
                <a16:creationId xmlns:a16="http://schemas.microsoft.com/office/drawing/2014/main" id="{1575235F-A2B2-42CE-98C0-7406B997D2FD}"/>
              </a:ext>
            </a:extLst>
          </p:cNvPr>
          <p:cNvSpPr>
            <a:spLocks noGrp="1" noChangeArrowheads="1"/>
          </p:cNvSpPr>
          <p:nvPr>
            <p:ph type="sldNum" sz="quarter" idx="16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213" indent="-21431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250" indent="-171450">
              <a:spcBef>
                <a:spcPct val="200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0150" indent="-171450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3050" indent="-171450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9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8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7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46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F6073B6C-C468-45A3-B177-C552F55DE0F6}" type="slidenum">
              <a:rPr lang="ru-RU" altLang="ru-RU" sz="90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02</a:t>
            </a:fld>
            <a:endParaRPr lang="ru-RU" altLang="ru-RU" sz="900">
              <a:solidFill>
                <a:srgbClr val="898989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5DD97CBE-A1E8-4628-B88C-BF7891AF77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1728" y="44054"/>
            <a:ext cx="4662488" cy="4870564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ru-RU" altLang="ru-RU" sz="1650" b="1" dirty="0">
                <a:solidFill>
                  <a:srgbClr val="7030A0"/>
                </a:solidFill>
                <a:latin typeface="Arial" panose="020B0604020202020204" pitchFamily="34" charset="0"/>
              </a:rPr>
              <a:t>Выставка в школьной библиотеке: «Профессиональная библиотека школьного библиотекаря». Серия 2»</a:t>
            </a:r>
          </a:p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ru-RU" altLang="ru-RU" sz="700" b="1" dirty="0">
                <a:solidFill>
                  <a:srgbClr val="7030A0"/>
                </a:solidFill>
                <a:latin typeface="Arial" panose="020B0604020202020204" pitchFamily="34" charset="0"/>
              </a:rPr>
              <a:t> </a:t>
            </a:r>
          </a:p>
          <a:p>
            <a:pPr>
              <a:spcBef>
                <a:spcPct val="0"/>
              </a:spcBef>
              <a:buFontTx/>
              <a:buNone/>
              <a:defRPr/>
            </a:pPr>
            <a:r>
              <a:rPr lang="ru-RU" altLang="ru-RU" sz="1500" dirty="0">
                <a:latin typeface="Arial" panose="020B0604020202020204" pitchFamily="34" charset="0"/>
              </a:rPr>
              <a:t>РШБА продолжает выпускать приложение – «Выставка в школьной библиотеке» издаются папки с иллюстративными материалами и текстами, позволяющие развернуть выставку из предложенных материалов, добавив конкретные издания и публикации из фондов своей библиотеки. Выпуски этой серии посвящаются юбилеям крупнейших известнейших писателей мира.</a:t>
            </a:r>
          </a:p>
          <a:p>
            <a:pPr>
              <a:spcBef>
                <a:spcPct val="0"/>
              </a:spcBef>
              <a:buFontTx/>
              <a:buNone/>
              <a:defRPr/>
            </a:pPr>
            <a:endParaRPr lang="ru-RU" altLang="ru-RU" sz="160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FontTx/>
              <a:buNone/>
              <a:defRPr/>
            </a:pPr>
            <a:r>
              <a:rPr lang="ru-RU" altLang="ru-RU" sz="1600" b="1" dirty="0">
                <a:solidFill>
                  <a:srgbClr val="7030A0"/>
                </a:solidFill>
                <a:latin typeface="Arial" panose="020B0604020202020204" pitchFamily="34" charset="0"/>
              </a:rPr>
              <a:t>Подписные индексы по каталогам: </a:t>
            </a:r>
          </a:p>
          <a:p>
            <a:pPr>
              <a:spcBef>
                <a:spcPct val="0"/>
              </a:spcBef>
              <a:buFontTx/>
              <a:buNone/>
              <a:defRPr/>
            </a:pPr>
            <a:endParaRPr lang="ru-RU" altLang="ru-RU" sz="700" dirty="0">
              <a:latin typeface="Arial" panose="020B0604020202020204" pitchFamily="34" charset="0"/>
            </a:endParaRPr>
          </a:p>
          <a:p>
            <a:pPr marL="342892" indent="-342892">
              <a:spcBef>
                <a:spcPct val="0"/>
              </a:spcBef>
              <a:buFont typeface="+mj-lt"/>
              <a:buAutoNum type="arabicPeriod"/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 Почта России – П3759 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br>
              <a:rPr lang="ru-RU" altLang="ru-RU" sz="1600" dirty="0">
                <a:latin typeface="Arial" panose="020B0604020202020204" pitchFamily="34" charset="0"/>
              </a:rPr>
            </a:br>
            <a:r>
              <a:rPr lang="en-US" altLang="ru-RU" sz="1600" dirty="0">
                <a:latin typeface="Arial" panose="020B0604020202020204" pitchFamily="34" charset="0"/>
                <a:hlinkClick r:id="rId2"/>
              </a:rPr>
              <a:t>https://podpiska.pochta.ru/press/</a:t>
            </a:r>
            <a:r>
              <a:rPr lang="ru-RU" altLang="ru-RU" sz="1600" dirty="0">
                <a:latin typeface="Arial" panose="020B0604020202020204" pitchFamily="34" charset="0"/>
                <a:hlinkClick r:id="rId2"/>
              </a:rPr>
              <a:t>П3759</a:t>
            </a:r>
            <a:endParaRPr lang="ru-RU" altLang="ru-RU" sz="1600" dirty="0">
              <a:latin typeface="Arial" panose="020B0604020202020204" pitchFamily="34" charset="0"/>
            </a:endParaRPr>
          </a:p>
          <a:p>
            <a:pPr marL="342892" indent="-342892">
              <a:spcBef>
                <a:spcPct val="0"/>
              </a:spcBef>
              <a:buFont typeface="+mj-lt"/>
              <a:buAutoNum type="arabicPeriod"/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«Роспечать» – 80841, на год – 20245  </a:t>
            </a:r>
          </a:p>
          <a:p>
            <a:pPr marL="342892" indent="-342892">
              <a:spcBef>
                <a:spcPct val="0"/>
              </a:spcBef>
              <a:buFont typeface="+mj-lt"/>
              <a:buAutoNum type="arabicPeriod"/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 «Урал пресс» – 80841</a:t>
            </a:r>
            <a:r>
              <a:rPr lang="en-US" altLang="ru-RU" sz="1600" dirty="0">
                <a:latin typeface="Arial" panose="020B0604020202020204" pitchFamily="34" charset="0"/>
              </a:rPr>
              <a:t> </a:t>
            </a:r>
            <a:r>
              <a:rPr lang="ru-RU" altLang="ru-RU" sz="1600" dirty="0">
                <a:latin typeface="Arial" panose="020B0604020202020204" pitchFamily="34" charset="0"/>
              </a:rPr>
              <a:t>(</a:t>
            </a:r>
            <a:r>
              <a:rPr lang="ru-RU" altLang="ru-RU" sz="1600" dirty="0">
                <a:latin typeface="Arial" panose="020B0604020202020204" pitchFamily="34" charset="0"/>
                <a:hlinkClick r:id="rId3"/>
              </a:rPr>
              <a:t>www.ural-press.ru</a:t>
            </a:r>
            <a:r>
              <a:rPr lang="ru-RU" altLang="ru-RU" sz="1600" dirty="0">
                <a:latin typeface="Arial" panose="020B0604020202020204" pitchFamily="34" charset="0"/>
              </a:rPr>
              <a:t>) </a:t>
            </a:r>
          </a:p>
          <a:p>
            <a:pPr marL="342892" indent="-342892">
              <a:spcBef>
                <a:spcPct val="0"/>
              </a:spcBef>
              <a:buFont typeface="+mj-lt"/>
              <a:buAutoNum type="arabicPeriod"/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«Пресса России» – 14733  </a:t>
            </a:r>
          </a:p>
        </p:txBody>
      </p:sp>
      <p:sp>
        <p:nvSpPr>
          <p:cNvPr id="132100" name="AutoShape 2">
            <a:extLst>
              <a:ext uri="{FF2B5EF4-FFF2-40B4-BE49-F238E27FC236}">
                <a16:creationId xmlns:a16="http://schemas.microsoft.com/office/drawing/2014/main" id="{0DE09571-4213-4596-94E0-0CFE6B850FB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73831" y="-785813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ru-RU" altLang="ru-RU" sz="1800">
              <a:latin typeface="Arial" panose="020B0604020202020204" pitchFamily="34" charset="0"/>
            </a:endParaRPr>
          </a:p>
        </p:txBody>
      </p:sp>
      <p:sp>
        <p:nvSpPr>
          <p:cNvPr id="132101" name="AutoShape 4">
            <a:extLst>
              <a:ext uri="{FF2B5EF4-FFF2-40B4-BE49-F238E27FC236}">
                <a16:creationId xmlns:a16="http://schemas.microsoft.com/office/drawing/2014/main" id="{098C7713-8697-4C0D-9188-FE35C10EAA3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73831" y="-785813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ru-RU" altLang="ru-RU" sz="1800">
              <a:latin typeface="Arial" panose="020B0604020202020204" pitchFamily="34" charset="0"/>
            </a:endParaRPr>
          </a:p>
        </p:txBody>
      </p:sp>
      <p:pic>
        <p:nvPicPr>
          <p:cNvPr id="132102" name="Picture 16">
            <a:extLst>
              <a:ext uri="{FF2B5EF4-FFF2-40B4-BE49-F238E27FC236}">
                <a16:creationId xmlns:a16="http://schemas.microsoft.com/office/drawing/2014/main" id="{4A1EBAE4-C55C-475E-A0B4-BBBC10628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931194" cy="2749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2103" name="Picture 18">
            <a:extLst>
              <a:ext uri="{FF2B5EF4-FFF2-40B4-BE49-F238E27FC236}">
                <a16:creationId xmlns:a16="http://schemas.microsoft.com/office/drawing/2014/main" id="{78EC23C3-EE0F-4B5A-9C4C-B50A41852A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7623" y="0"/>
            <a:ext cx="1972865" cy="2749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2104" name="Picture 20">
            <a:extLst>
              <a:ext uri="{FF2B5EF4-FFF2-40B4-BE49-F238E27FC236}">
                <a16:creationId xmlns:a16="http://schemas.microsoft.com/office/drawing/2014/main" id="{8A41FF7F-7C97-49EB-B783-1AFAFC2C41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4" y="2383631"/>
            <a:ext cx="1931194" cy="2749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2105" name="Picture 22">
            <a:extLst>
              <a:ext uri="{FF2B5EF4-FFF2-40B4-BE49-F238E27FC236}">
                <a16:creationId xmlns:a16="http://schemas.microsoft.com/office/drawing/2014/main" id="{0F7CDDE9-218E-4B11-B557-EB39C0C5EC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788" y="2394347"/>
            <a:ext cx="1943100" cy="273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2106" name="Picture 24">
            <a:extLst>
              <a:ext uri="{FF2B5EF4-FFF2-40B4-BE49-F238E27FC236}">
                <a16:creationId xmlns:a16="http://schemas.microsoft.com/office/drawing/2014/main" id="{194315EC-F9BE-4C8D-B25D-800BA095F1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4773" y="2394348"/>
            <a:ext cx="1968103" cy="2749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dissolve/>
  </p:transition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Объект 1">
            <a:extLst>
              <a:ext uri="{FF2B5EF4-FFF2-40B4-BE49-F238E27FC236}">
                <a16:creationId xmlns:a16="http://schemas.microsoft.com/office/drawing/2014/main" id="{75CC2B38-0128-4DBF-BF70-041C3558BC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916" y="1196579"/>
            <a:ext cx="7722394" cy="1371600"/>
          </a:xfrm>
        </p:spPr>
        <p:txBody>
          <a:bodyPr/>
          <a:lstStyle/>
          <a:p>
            <a:pPr algn="ctr">
              <a:spcBef>
                <a:spcPct val="0"/>
              </a:spcBef>
            </a:pPr>
            <a:r>
              <a:rPr lang="ru-RU" altLang="ru-RU" sz="2700" dirty="0">
                <a:latin typeface="Arial" panose="020B0604020202020204" pitchFamily="34" charset="0"/>
              </a:rPr>
              <a:t>Онлайн подписка на сайте «Почта России»:</a:t>
            </a:r>
            <a:br>
              <a:rPr lang="ru-RU" altLang="ru-RU" sz="2700" dirty="0">
                <a:latin typeface="Arial" panose="020B0604020202020204" pitchFamily="34" charset="0"/>
              </a:rPr>
            </a:br>
            <a:r>
              <a:rPr lang="ru-RU" altLang="ru-RU" sz="2700" u="sng" dirty="0">
                <a:latin typeface="Arial" panose="020B0604020202020204" pitchFamily="34" charset="0"/>
                <a:hlinkClick r:id="rId3"/>
              </a:rPr>
              <a:t>podpiska.pochta.ru </a:t>
            </a:r>
            <a:endParaRPr lang="ru-RU" altLang="ru-RU" sz="2700" u="sng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</a:pPr>
            <a:endParaRPr lang="ru-RU" altLang="ru-RU" sz="2100" dirty="0">
              <a:latin typeface="Arial" panose="020B0604020202020204" pitchFamily="34" charset="0"/>
            </a:endParaRPr>
          </a:p>
        </p:txBody>
      </p:sp>
      <p:sp>
        <p:nvSpPr>
          <p:cNvPr id="133123" name="Заголовок 2">
            <a:extLst>
              <a:ext uri="{FF2B5EF4-FFF2-40B4-BE49-F238E27FC236}">
                <a16:creationId xmlns:a16="http://schemas.microsoft.com/office/drawing/2014/main" id="{7768269D-013E-478B-A864-933966516E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697" y="303610"/>
            <a:ext cx="6157913" cy="89654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altLang="ru-RU" sz="3150" dirty="0">
                <a:solidFill>
                  <a:srgbClr val="C00000"/>
                </a:solidFill>
                <a:cs typeface="Calibri" panose="020F0502020204030204" pitchFamily="34" charset="0"/>
              </a:rPr>
              <a:t>Подписаться на издания РШБА</a:t>
            </a:r>
            <a:br>
              <a:rPr lang="ru-RU" altLang="ru-RU" sz="3150" dirty="0">
                <a:solidFill>
                  <a:srgbClr val="C00000"/>
                </a:solidFill>
                <a:cs typeface="Calibri" panose="020F0502020204030204" pitchFamily="34" charset="0"/>
              </a:rPr>
            </a:br>
            <a:r>
              <a:rPr lang="ru-RU" altLang="ru-RU" sz="3150" dirty="0">
                <a:solidFill>
                  <a:srgbClr val="C00000"/>
                </a:solidFill>
                <a:cs typeface="Calibri" panose="020F0502020204030204" pitchFamily="34" charset="0"/>
              </a:rPr>
              <a:t>можно с любого месяца</a:t>
            </a:r>
          </a:p>
        </p:txBody>
      </p:sp>
      <p:sp>
        <p:nvSpPr>
          <p:cNvPr id="133124" name="Номер слайда 5">
            <a:extLst>
              <a:ext uri="{FF2B5EF4-FFF2-40B4-BE49-F238E27FC236}">
                <a16:creationId xmlns:a16="http://schemas.microsoft.com/office/drawing/2014/main" id="{E80D93DC-F41A-401A-B25C-500DC70241FE}"/>
              </a:ext>
            </a:extLst>
          </p:cNvPr>
          <p:cNvSpPr>
            <a:spLocks noGrp="1" noChangeArrowheads="1"/>
          </p:cNvSpPr>
          <p:nvPr>
            <p:ph type="sldNum" sz="quarter" idx="16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213" indent="-21431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250" indent="-171450">
              <a:spcBef>
                <a:spcPct val="200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0150" indent="-171450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3050" indent="-171450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9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8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7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46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86C7BB6-1EF7-4F15-BBBD-AB561E1B954E}" type="slidenum">
              <a:rPr lang="ru-RU" altLang="ru-RU" sz="90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03</a:t>
            </a:fld>
            <a:endParaRPr lang="ru-RU" altLang="ru-RU" sz="900">
              <a:solidFill>
                <a:srgbClr val="898989"/>
              </a:solidFill>
            </a:endParaRPr>
          </a:p>
        </p:txBody>
      </p:sp>
      <p:pic>
        <p:nvPicPr>
          <p:cNvPr id="133125" name="Рисунок 3" descr="Изображение выглядит как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04A3DF6F-E325-48E8-8492-0BDC90D362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731" y="289323"/>
            <a:ext cx="725091" cy="907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26" name="Picture 4">
            <a:extLst>
              <a:ext uri="{FF2B5EF4-FFF2-40B4-BE49-F238E27FC236}">
                <a16:creationId xmlns:a16="http://schemas.microsoft.com/office/drawing/2014/main" id="{6949A6B1-6D4A-4A53-B40D-2BCB6647E2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066" y="2363391"/>
            <a:ext cx="1490663" cy="2195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27" name="Picture 2">
            <a:extLst>
              <a:ext uri="{FF2B5EF4-FFF2-40B4-BE49-F238E27FC236}">
                <a16:creationId xmlns:a16="http://schemas.microsoft.com/office/drawing/2014/main" id="{B7D5DEB1-D523-4901-8441-514B520540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7563" y="2368154"/>
            <a:ext cx="1508522" cy="2193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28" name="Рисунок 2">
            <a:extLst>
              <a:ext uri="{FF2B5EF4-FFF2-40B4-BE49-F238E27FC236}">
                <a16:creationId xmlns:a16="http://schemas.microsoft.com/office/drawing/2014/main" id="{3249EBC0-9E5E-43BC-8B14-3015260069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6185" y="2795588"/>
            <a:ext cx="1531144" cy="2159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29" name="Рисунок 17">
            <a:extLst>
              <a:ext uri="{FF2B5EF4-FFF2-40B4-BE49-F238E27FC236}">
                <a16:creationId xmlns:a16="http://schemas.microsoft.com/office/drawing/2014/main" id="{8B38775F-5301-4C26-A40F-DB45EF8C6F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3479" y="2964656"/>
            <a:ext cx="1520428" cy="215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30" name="Рисунок 6">
            <a:extLst>
              <a:ext uri="{FF2B5EF4-FFF2-40B4-BE49-F238E27FC236}">
                <a16:creationId xmlns:a16="http://schemas.microsoft.com/office/drawing/2014/main" id="{6CC6D2BD-CF55-409D-B260-208C40020771}"/>
              </a:ext>
            </a:extLst>
          </p:cNvPr>
          <p:cNvSpPr>
            <a:spLocks noGrp="1" noTextEdit="1"/>
          </p:cNvSpPr>
          <p:nvPr>
            <p:ph type="pic" sz="quarter" idx="13"/>
          </p:nvPr>
        </p:nvSpPr>
        <p:spPr>
          <a:xfrm>
            <a:off x="467916" y="303610"/>
            <a:ext cx="1295400" cy="900113"/>
          </a:xfrm>
        </p:spPr>
      </p:sp>
      <p:pic>
        <p:nvPicPr>
          <p:cNvPr id="133131" name="Picture 24">
            <a:extLst>
              <a:ext uri="{FF2B5EF4-FFF2-40B4-BE49-F238E27FC236}">
                <a16:creationId xmlns:a16="http://schemas.microsoft.com/office/drawing/2014/main" id="{FFA43264-BE99-4A7B-B0A8-8B549AFE3C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2150" y="2775348"/>
            <a:ext cx="1566863" cy="2187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32" name="Picture 16">
            <a:extLst>
              <a:ext uri="{FF2B5EF4-FFF2-40B4-BE49-F238E27FC236}">
                <a16:creationId xmlns:a16="http://schemas.microsoft.com/office/drawing/2014/main" id="{71120300-F8A0-457F-8B3E-EE8D7BF3E3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2956" y="2964656"/>
            <a:ext cx="1510904" cy="215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dissolve/>
  </p:transition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CE644E6-4DA5-432C-970D-70DA0C126DD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РШБА 2019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104</a:t>
            </a:fld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4269335-F73B-42D2-8B02-DB3BB7C693D6}"/>
              </a:ext>
            </a:extLst>
          </p:cNvPr>
          <p:cNvSpPr/>
          <p:nvPr/>
        </p:nvSpPr>
        <p:spPr>
          <a:xfrm>
            <a:off x="0" y="983233"/>
            <a:ext cx="9144000" cy="2020565"/>
          </a:xfrm>
          <a:prstGeom prst="rect">
            <a:avLst/>
          </a:prstGeom>
          <a:solidFill>
            <a:srgbClr val="2F36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30E2127D-098D-4BA3-9237-B6F59282565B}"/>
              </a:ext>
            </a:extLst>
          </p:cNvPr>
          <p:cNvGrpSpPr/>
          <p:nvPr/>
        </p:nvGrpSpPr>
        <p:grpSpPr>
          <a:xfrm>
            <a:off x="4943959" y="3740714"/>
            <a:ext cx="1880821" cy="792781"/>
            <a:chOff x="7320788" y="3904326"/>
            <a:chExt cx="1880821" cy="792781"/>
          </a:xfrm>
        </p:grpSpPr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3A94D709-70E2-4648-9FA8-93BDAB3D366C}"/>
                </a:ext>
              </a:extLst>
            </p:cNvPr>
            <p:cNvSpPr/>
            <p:nvPr/>
          </p:nvSpPr>
          <p:spPr>
            <a:xfrm>
              <a:off x="7649709" y="3904326"/>
              <a:ext cx="1551900" cy="79278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16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fb.com/rusla.ru</a:t>
              </a:r>
              <a:endParaRPr lang="ru-RU" sz="16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6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vk.com/vk1rusla</a:t>
              </a:r>
            </a:p>
          </p:txBody>
        </p:sp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0DE4412A-9748-4354-89A2-C4AE364374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26945" y="4390279"/>
              <a:ext cx="249702" cy="249702"/>
            </a:xfrm>
            <a:prstGeom prst="rect">
              <a:avLst/>
            </a:prstGeom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47164F94-1A50-4374-AB1A-62BD4A1D0C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20788" y="3994235"/>
              <a:ext cx="249702" cy="249702"/>
            </a:xfrm>
            <a:prstGeom prst="rect">
              <a:avLst/>
            </a:prstGeom>
          </p:spPr>
        </p:pic>
      </p:grpSp>
      <p:sp>
        <p:nvSpPr>
          <p:cNvPr id="11" name="Методический центр 8-800-2000-550 (звонок бесплатный)">
            <a:extLst>
              <a:ext uri="{FF2B5EF4-FFF2-40B4-BE49-F238E27FC236}">
                <a16:creationId xmlns:a16="http://schemas.microsoft.com/office/drawing/2014/main" id="{1C4BC1BD-93B2-4B1A-B95C-7665C88D2384}"/>
              </a:ext>
            </a:extLst>
          </p:cNvPr>
          <p:cNvSpPr txBox="1"/>
          <p:nvPr/>
        </p:nvSpPr>
        <p:spPr>
          <a:xfrm>
            <a:off x="4943959" y="1569359"/>
            <a:ext cx="2814638" cy="9618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www.rusla.ru</a:t>
            </a:r>
          </a:p>
          <a:p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rusla@rusla.ru</a:t>
            </a:r>
          </a:p>
          <a:p>
            <a:r>
              <a:rPr lang="ru-RU" sz="2000" dirty="0">
                <a:solidFill>
                  <a:schemeClr val="bg1"/>
                </a:solidFill>
                <a:latin typeface="Calibri" panose="020F0502020204030204" pitchFamily="34" charset="0"/>
              </a:rPr>
              <a:t>Тел.: 8 (903) 615 90 36</a:t>
            </a:r>
            <a:endParaRPr sz="20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12" name="Рисунок 2">
            <a:extLst>
              <a:ext uri="{FF2B5EF4-FFF2-40B4-BE49-F238E27FC236}">
                <a16:creationId xmlns:a16="http://schemas.microsoft.com/office/drawing/2014/main" id="{91C32628-B6CB-4F47-AF09-FE5B5D54B0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9799" y="1596096"/>
            <a:ext cx="2223154" cy="3089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7407165-976B-4AAF-A205-869D3F5A3560}"/>
              </a:ext>
            </a:extLst>
          </p:cNvPr>
          <p:cNvSpPr/>
          <p:nvPr/>
        </p:nvSpPr>
        <p:spPr>
          <a:xfrm>
            <a:off x="323528" y="148340"/>
            <a:ext cx="85515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АССОЦИАЦИЯ ШКОЛЬНЫХ БИБЛИОТЕКАРЕЙ РУССКОГО МИРА</a:t>
            </a:r>
          </a:p>
        </p:txBody>
      </p:sp>
    </p:spTree>
    <p:extLst>
      <p:ext uri="{BB962C8B-B14F-4D97-AF65-F5344CB8AC3E}">
        <p14:creationId xmlns:p14="http://schemas.microsoft.com/office/powerpoint/2010/main" val="30019277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F447FD5-8BF0-4C92-856D-578CAC321369}"/>
              </a:ext>
            </a:extLst>
          </p:cNvPr>
          <p:cNvSpPr/>
          <p:nvPr/>
        </p:nvSpPr>
        <p:spPr>
          <a:xfrm>
            <a:off x="0" y="86917"/>
            <a:ext cx="9144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3000" b="1" dirty="0">
                <a:solidFill>
                  <a:srgbClr val="FF0000"/>
                </a:solidFill>
                <a:latin typeface="+mj-lt"/>
              </a:rPr>
              <a:t>Итоги всероссийской читательской акции </a:t>
            </a:r>
            <a:br>
              <a:rPr lang="ru-RU" sz="3000" b="1" dirty="0">
                <a:solidFill>
                  <a:srgbClr val="FF0000"/>
                </a:solidFill>
                <a:latin typeface="+mj-lt"/>
              </a:rPr>
            </a:br>
            <a:r>
              <a:rPr lang="ru-RU" sz="3000" b="1" dirty="0">
                <a:solidFill>
                  <a:srgbClr val="FF0000"/>
                </a:solidFill>
                <a:latin typeface="+mj-lt"/>
              </a:rPr>
              <a:t>«Обнимем ребенка с книгой!»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43965B46-334D-41EF-BEC2-280773D9A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203598"/>
            <a:ext cx="2496277" cy="3744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B9A09E4-773D-49FD-9292-DF5F49E558C3}"/>
              </a:ext>
            </a:extLst>
          </p:cNvPr>
          <p:cNvSpPr txBox="1"/>
          <p:nvPr/>
        </p:nvSpPr>
        <p:spPr>
          <a:xfrm>
            <a:off x="3462132" y="1119100"/>
            <a:ext cx="557436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Героини фото, ставшего лауреатом первой степени, Трофимова Дарья и ее мама, поделились своими впечатлениями от чтения большой книги сказок:</a:t>
            </a:r>
            <a:endParaRPr lang="ru-RU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3B2DAE3-B87F-4022-A613-006CEAFF6743}"/>
              </a:ext>
            </a:extLst>
          </p:cNvPr>
          <p:cNvSpPr txBox="1"/>
          <p:nvPr/>
        </p:nvSpPr>
        <p:spPr>
          <a:xfrm>
            <a:off x="3505812" y="1917262"/>
            <a:ext cx="5487002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0" i="1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Огромный плюс этой книги - все сказки подобраны и разбиты по темам про животных, принцев и принцесс, про умных и глупых, о любви и дружбе, о больших и маленьких, и даже есть басни и арабские сказки. Иллюстрации красочные и приятные, вызывающие бурю радостных эмоций. Некоторые сказки идут в сокращении. Иногда это очень удобно и не утомительно для детей. Дети с удовольствием слушают и сами читают сказки из этой книги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0862819"/>
      </p:ext>
    </p:extLst>
  </p:cSld>
  <p:clrMapOvr>
    <a:masterClrMapping/>
  </p:clrMapOvr>
  <p:transition spd="slow" advClick="0" advTm="16218">
    <p:wheel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F447FD5-8BF0-4C92-856D-578CAC321369}"/>
              </a:ext>
            </a:extLst>
          </p:cNvPr>
          <p:cNvSpPr/>
          <p:nvPr/>
        </p:nvSpPr>
        <p:spPr>
          <a:xfrm>
            <a:off x="0" y="86917"/>
            <a:ext cx="9144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3000" b="1" dirty="0">
                <a:solidFill>
                  <a:srgbClr val="FF0000"/>
                </a:solidFill>
                <a:latin typeface="+mj-lt"/>
              </a:rPr>
              <a:t>Итоги всероссийской читательской акции </a:t>
            </a:r>
            <a:br>
              <a:rPr lang="ru-RU" sz="3000" b="1" dirty="0">
                <a:solidFill>
                  <a:srgbClr val="FF0000"/>
                </a:solidFill>
                <a:latin typeface="+mj-lt"/>
              </a:rPr>
            </a:br>
            <a:r>
              <a:rPr lang="ru-RU" sz="3000" b="1" dirty="0">
                <a:solidFill>
                  <a:srgbClr val="FF0000"/>
                </a:solidFill>
                <a:latin typeface="+mj-lt"/>
              </a:rPr>
              <a:t>«Обнимем ребенка с книгой!»</a:t>
            </a:r>
          </a:p>
        </p:txBody>
      </p:sp>
      <p:pic>
        <p:nvPicPr>
          <p:cNvPr id="6148" name="Picture 4">
            <a:extLst>
              <a:ext uri="{FF2B5EF4-FFF2-40B4-BE49-F238E27FC236}">
                <a16:creationId xmlns:a16="http://schemas.microsoft.com/office/drawing/2014/main" id="{23BE22D0-1E45-482E-B00B-9D25EF9742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1660" y="1275606"/>
            <a:ext cx="5950552" cy="3384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C2BCCAD-6973-4D7A-B4A9-C30CE997081E}"/>
              </a:ext>
            </a:extLst>
          </p:cNvPr>
          <p:cNvSpPr txBox="1"/>
          <p:nvPr/>
        </p:nvSpPr>
        <p:spPr>
          <a:xfrm>
            <a:off x="3275856" y="4659982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i="0" dirty="0" err="1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Горностаева</a:t>
            </a:r>
            <a:r>
              <a:rPr lang="ru-RU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Юл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2271755"/>
      </p:ext>
    </p:extLst>
  </p:cSld>
  <p:clrMapOvr>
    <a:masterClrMapping/>
  </p:clrMapOvr>
  <p:transition spd="slow" advClick="0" advTm="16218">
    <p:wheel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F447FD5-8BF0-4C92-856D-578CAC321369}"/>
              </a:ext>
            </a:extLst>
          </p:cNvPr>
          <p:cNvSpPr/>
          <p:nvPr/>
        </p:nvSpPr>
        <p:spPr>
          <a:xfrm>
            <a:off x="0" y="86917"/>
            <a:ext cx="9144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3000" b="1" dirty="0">
                <a:solidFill>
                  <a:srgbClr val="FF0000"/>
                </a:solidFill>
                <a:latin typeface="+mj-lt"/>
              </a:rPr>
              <a:t>Итоги всероссийской читательской акции </a:t>
            </a:r>
            <a:br>
              <a:rPr lang="ru-RU" sz="3000" b="1" dirty="0">
                <a:solidFill>
                  <a:srgbClr val="FF0000"/>
                </a:solidFill>
                <a:latin typeface="+mj-lt"/>
              </a:rPr>
            </a:br>
            <a:r>
              <a:rPr lang="ru-RU" sz="3000" b="1" dirty="0">
                <a:solidFill>
                  <a:srgbClr val="FF0000"/>
                </a:solidFill>
                <a:latin typeface="+mj-lt"/>
              </a:rPr>
              <a:t>«Обнимем ребенка с книгой!»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2BCCAD-6973-4D7A-B4A9-C30CE997081E}"/>
              </a:ext>
            </a:extLst>
          </p:cNvPr>
          <p:cNvSpPr txBox="1"/>
          <p:nvPr/>
        </p:nvSpPr>
        <p:spPr>
          <a:xfrm>
            <a:off x="468784" y="1203598"/>
            <a:ext cx="74888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А вот что о любимой книге рассказала </a:t>
            </a:r>
            <a:r>
              <a:rPr lang="ru-RU" b="1" i="0" dirty="0" err="1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Горностаева</a:t>
            </a:r>
            <a:r>
              <a:rPr lang="ru-RU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Юлия: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06277E-9FFB-4CDF-B320-D35BD0DB0F25}"/>
              </a:ext>
            </a:extLst>
          </p:cNvPr>
          <p:cNvSpPr txBox="1"/>
          <p:nvPr/>
        </p:nvSpPr>
        <p:spPr>
          <a:xfrm>
            <a:off x="468784" y="1562140"/>
            <a:ext cx="8478688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0" i="1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Мы рекомендуем книгу Антуана Де Сент-Экзюпери "Маленький Принц" о мальчике, путешествующим по различным планетам, об одиночестве, дружбе, любви и потерях. Эта книга имеет по-настоящему глубокий смысл и дает повод задуматься. Книга подойдёт как взрослым, так и детям. Эта повесть о взросление людей, о потерянных мечтах и надеждах. "Маленький Принц" погружает нас в светлую и немного грустную историю, наполненную важными истинами: любовь, счастье, верность, ответственность и дружба. Книга читается под настроение, когда тебе кажется, что внутри ты разрушен, и тебе грустно. Читая её, мы задумывались о многих вещах, о которых раньше и мысли не возникало. Повесть завораживает своим легким слогом и необычным сюжетом. Все с удовольствием слушали чтение мамы, особенно книга понравилась самым младшим, которым история про мальчика показалось немного странной, но от этого не менее интересной.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076841397"/>
      </p:ext>
    </p:extLst>
  </p:cSld>
  <p:clrMapOvr>
    <a:masterClrMapping/>
  </p:clrMapOvr>
  <p:transition spd="slow" advClick="0" advTm="16218">
    <p:wheel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F447FD5-8BF0-4C92-856D-578CAC321369}"/>
              </a:ext>
            </a:extLst>
          </p:cNvPr>
          <p:cNvSpPr/>
          <p:nvPr/>
        </p:nvSpPr>
        <p:spPr>
          <a:xfrm>
            <a:off x="0" y="86917"/>
            <a:ext cx="9144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3000" b="1" dirty="0">
                <a:solidFill>
                  <a:srgbClr val="FF0000"/>
                </a:solidFill>
                <a:latin typeface="+mj-lt"/>
              </a:rPr>
              <a:t>Итоги всероссийской читательской акции </a:t>
            </a:r>
            <a:br>
              <a:rPr lang="ru-RU" sz="3000" b="1" dirty="0">
                <a:solidFill>
                  <a:srgbClr val="FF0000"/>
                </a:solidFill>
                <a:latin typeface="+mj-lt"/>
              </a:rPr>
            </a:br>
            <a:r>
              <a:rPr lang="ru-RU" sz="3000" b="1" dirty="0">
                <a:solidFill>
                  <a:srgbClr val="FF0000"/>
                </a:solidFill>
                <a:latin typeface="+mj-lt"/>
              </a:rPr>
              <a:t>«Обнимем ребенка с книгой!»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00EF874A-87A4-43D5-82DB-918C817DDE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102580"/>
            <a:ext cx="3629410" cy="3629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A90A2FE-2049-4B02-BA39-F2D3BC8BACD9}"/>
              </a:ext>
            </a:extLst>
          </p:cNvPr>
          <p:cNvSpPr txBox="1"/>
          <p:nvPr/>
        </p:nvSpPr>
        <p:spPr>
          <a:xfrm>
            <a:off x="4606404" y="1635646"/>
            <a:ext cx="457200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Солнечное, доброе фото, ставшее лауреатом второй степени, может о многом рассказать зрителям. </a:t>
            </a:r>
            <a:r>
              <a:rPr lang="ru-RU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Мы уверены, что старшая группа детского сада № 53 из города Ленинск-Кузнецкий ни дня не проводит без книжки. И что у ребят замечательный, внимательный и чуткий </a:t>
            </a:r>
            <a:r>
              <a:rPr lang="ru-RU" b="0" i="0" dirty="0" err="1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наставнк</a:t>
            </a:r>
            <a:r>
              <a:rPr lang="ru-RU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– их воспитатель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38681474"/>
      </p:ext>
    </p:extLst>
  </p:cSld>
  <p:clrMapOvr>
    <a:masterClrMapping/>
  </p:clrMapOvr>
  <p:transition spd="slow" advClick="0" advTm="16218">
    <p:wheel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F447FD5-8BF0-4C92-856D-578CAC321369}"/>
              </a:ext>
            </a:extLst>
          </p:cNvPr>
          <p:cNvSpPr/>
          <p:nvPr/>
        </p:nvSpPr>
        <p:spPr>
          <a:xfrm>
            <a:off x="0" y="86917"/>
            <a:ext cx="9144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3000" b="1" dirty="0">
                <a:solidFill>
                  <a:srgbClr val="FF0000"/>
                </a:solidFill>
                <a:latin typeface="+mj-lt"/>
              </a:rPr>
              <a:t>Итоги всероссийской читательской акции </a:t>
            </a:r>
            <a:br>
              <a:rPr lang="ru-RU" sz="3000" b="1" dirty="0">
                <a:solidFill>
                  <a:srgbClr val="FF0000"/>
                </a:solidFill>
                <a:latin typeface="+mj-lt"/>
              </a:rPr>
            </a:br>
            <a:r>
              <a:rPr lang="ru-RU" sz="3000" b="1" dirty="0">
                <a:solidFill>
                  <a:srgbClr val="FF0000"/>
                </a:solidFill>
                <a:latin typeface="+mj-lt"/>
              </a:rPr>
              <a:t>«Обнимем ребенка с книгой!»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F22656-CBB4-4641-8389-57FA8390C845}"/>
              </a:ext>
            </a:extLst>
          </p:cNvPr>
          <p:cNvSpPr txBox="1"/>
          <p:nvPr/>
        </p:nvSpPr>
        <p:spPr>
          <a:xfrm>
            <a:off x="3131840" y="1275606"/>
            <a:ext cx="5832648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0" i="1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Мы рекомендуем книгу Татьяны Александровой "Домовенок Кузька" Сказочная повесть о смешном и трогательном, сообразительном, добром, обаятельном, симпатичном, интересном домовенке </a:t>
            </a:r>
            <a:r>
              <a:rPr lang="ru-RU" b="0" i="1" dirty="0" err="1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Кузеньке</a:t>
            </a:r>
            <a:r>
              <a:rPr lang="ru-RU" b="0" i="1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, как ласково его называют дети старшей группы. Любимый сказочный персонаж неожиданно заставляет детей задуматься, засмеяться, рассуждать в самых неожиданных эпизодах. Сказочница Татьяна Ивановна Александрова рассказала о нем в историях, полных забавных приключений и настоящих сказочных чудес.</a:t>
            </a:r>
            <a:endParaRPr lang="ru-RU" dirty="0"/>
          </a:p>
        </p:txBody>
      </p:sp>
      <p:pic>
        <p:nvPicPr>
          <p:cNvPr id="18434" name="Picture 2">
            <a:extLst>
              <a:ext uri="{FF2B5EF4-FFF2-40B4-BE49-F238E27FC236}">
                <a16:creationId xmlns:a16="http://schemas.microsoft.com/office/drawing/2014/main" id="{1D4E58AA-5DF9-4B1E-8826-D01E431F04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935016"/>
            <a:ext cx="2551311" cy="209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8186340"/>
      </p:ext>
    </p:extLst>
  </p:cSld>
  <p:clrMapOvr>
    <a:masterClrMapping/>
  </p:clrMapOvr>
  <p:transition spd="slow" advClick="0" advTm="16218">
    <p:wheel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46178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16</a:t>
            </a:fld>
            <a:endParaRPr lang="ru-RU" dirty="0"/>
          </a:p>
        </p:txBody>
      </p:sp>
      <p:sp>
        <p:nvSpPr>
          <p:cNvPr id="18" name="Заголовок 2">
            <a:extLst>
              <a:ext uri="{FF2B5EF4-FFF2-40B4-BE49-F238E27FC236}">
                <a16:creationId xmlns:a16="http://schemas.microsoft.com/office/drawing/2014/main" id="{936A899C-5131-4393-810D-DC5E894327A3}"/>
              </a:ext>
            </a:extLst>
          </p:cNvPr>
          <p:cNvSpPr txBox="1">
            <a:spLocks/>
          </p:cNvSpPr>
          <p:nvPr/>
        </p:nvSpPr>
        <p:spPr>
          <a:xfrm>
            <a:off x="107504" y="150962"/>
            <a:ext cx="8928992" cy="6480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Международный месячник школьных библиотек (ISLM) – 2020</a:t>
            </a:r>
            <a:b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37078D6B-9161-4090-9568-9675333416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329" y="832812"/>
            <a:ext cx="7632848" cy="34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рогие друзья! Поздравляем вас с наступлением</a:t>
            </a:r>
            <a:br>
              <a:rPr lang="ru-RU" alt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ждународным месячником школьных библиотек – 20</a:t>
            </a:r>
            <a:r>
              <a:rPr lang="en-US" alt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ru-RU" alt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</a:p>
          <a:p>
            <a:pPr>
              <a:spcBef>
                <a:spcPct val="0"/>
              </a:spcBef>
              <a:buFontTx/>
              <a:buNone/>
            </a:pPr>
            <a:endParaRPr lang="ru-RU" alt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усть октябрь станет месяцем стартов ваших новых проектов, месяцем укрепления сетевого сотрудничества с российскими и зарубежными коллегами, месяцем открытия новых региональных представительств РШБА в небольших городах, поселках, деревнях – всюду, где есть школы, а значит, школьные библиотеки и маленькие читатели, а главное, есть вы – их добрые наставники, мудрые руководители в выборе хороших книг, советчики и друзья – школьные библиотекари!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B5EB2E4-70C8-4CE0-9B96-8C65FEB90B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392" y="510089"/>
            <a:ext cx="1321607" cy="1341582"/>
          </a:xfrm>
          <a:prstGeom prst="rect">
            <a:avLst/>
          </a:prstGeom>
        </p:spPr>
      </p:pic>
      <p:pic>
        <p:nvPicPr>
          <p:cNvPr id="13" name="Рисунок 2">
            <a:extLst>
              <a:ext uri="{FF2B5EF4-FFF2-40B4-BE49-F238E27FC236}">
                <a16:creationId xmlns:a16="http://schemas.microsoft.com/office/drawing/2014/main" id="{2813F478-B227-4B1F-B196-3768F62A0E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2392" y="3454699"/>
            <a:ext cx="1321607" cy="1003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2">
            <a:extLst>
              <a:ext uri="{FF2B5EF4-FFF2-40B4-BE49-F238E27FC236}">
                <a16:creationId xmlns:a16="http://schemas.microsoft.com/office/drawing/2014/main" id="{AE55AD24-0AD0-49E1-838E-61D4379DF8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2098788"/>
            <a:ext cx="771988" cy="1073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48085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46178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17</a:t>
            </a:fld>
            <a:endParaRPr lang="ru-RU" dirty="0"/>
          </a:p>
        </p:txBody>
      </p:sp>
      <p:sp>
        <p:nvSpPr>
          <p:cNvPr id="18" name="Заголовок 2">
            <a:extLst>
              <a:ext uri="{FF2B5EF4-FFF2-40B4-BE49-F238E27FC236}">
                <a16:creationId xmlns:a16="http://schemas.microsoft.com/office/drawing/2014/main" id="{936A899C-5131-4393-810D-DC5E894327A3}"/>
              </a:ext>
            </a:extLst>
          </p:cNvPr>
          <p:cNvSpPr txBox="1">
            <a:spLocks/>
          </p:cNvSpPr>
          <p:nvPr/>
        </p:nvSpPr>
        <p:spPr>
          <a:xfrm>
            <a:off x="215008" y="508776"/>
            <a:ext cx="8928992" cy="6480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Международные проекты </a:t>
            </a:r>
            <a:b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Месячника школьных библиотек (ISLM) – 2020</a:t>
            </a:r>
            <a:b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37078D6B-9161-4090-9568-9675333416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536" y="889188"/>
            <a:ext cx="7632848" cy="38549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 Проект «Закладка»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ISLM «Закладка» включает в себя создание школами-партнерами самодельных  закладок для книг (любого стиля, формы и т.д. – подход должен быть творческим), которые отражали бы тему Месячника школьных библиотек.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нтакты координаторов проекта: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ти до 12 лет: Бридж </a:t>
            </a:r>
            <a:r>
              <a:rPr lang="ru-RU" alt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'Брайен</a:t>
            </a:r>
            <a:r>
              <a:rPr lang="ru-RU" alt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</a:t>
            </a:r>
            <a:r>
              <a:rPr lang="ru-RU" alt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reege</a:t>
            </a:r>
            <a:r>
              <a:rPr lang="ru-RU" alt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O’Brien</a:t>
            </a:r>
            <a:r>
              <a:rPr lang="ru-RU" alt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islmbookmarkexchange@gmail.com)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арше12 лет: г-жа </a:t>
            </a:r>
            <a:r>
              <a:rPr lang="ru-RU" alt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амандип</a:t>
            </a:r>
            <a:r>
              <a:rPr lang="ru-RU" alt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</a:t>
            </a:r>
            <a:r>
              <a:rPr lang="ru-RU" alt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s</a:t>
            </a:r>
            <a:r>
              <a:rPr lang="ru-RU" alt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alt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amandeep</a:t>
            </a:r>
            <a:r>
              <a:rPr lang="ru-RU" alt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(</a:t>
            </a:r>
            <a:r>
              <a:rPr lang="ru-RU" altLang="ru-RU" sz="1800" dirty="0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ramandee49@yahoo.com</a:t>
            </a:r>
            <a:r>
              <a:rPr lang="ru-RU" alt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ЧАНИЕ: </a:t>
            </a:r>
            <a:r>
              <a:rPr lang="ru-RU" alt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рамках этого проекта необходимо обмениваться закладками по почте.  Если вы предпочитаете участвовать в цифровом обмене, пожалуйста, изучите проект «Цифровая закладка».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B5EB2E4-70C8-4CE0-9B96-8C65FEB90BA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392" y="510089"/>
            <a:ext cx="1321607" cy="1341582"/>
          </a:xfrm>
          <a:prstGeom prst="rect">
            <a:avLst/>
          </a:prstGeom>
        </p:spPr>
      </p:pic>
      <p:pic>
        <p:nvPicPr>
          <p:cNvPr id="13" name="Рисунок 2">
            <a:extLst>
              <a:ext uri="{FF2B5EF4-FFF2-40B4-BE49-F238E27FC236}">
                <a16:creationId xmlns:a16="http://schemas.microsoft.com/office/drawing/2014/main" id="{2813F478-B227-4B1F-B196-3768F62A0E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2392" y="3454699"/>
            <a:ext cx="1321607" cy="1003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2">
            <a:extLst>
              <a:ext uri="{FF2B5EF4-FFF2-40B4-BE49-F238E27FC236}">
                <a16:creationId xmlns:a16="http://schemas.microsoft.com/office/drawing/2014/main" id="{AE55AD24-0AD0-49E1-838E-61D4379DF8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2098788"/>
            <a:ext cx="771988" cy="1073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31041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46178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18</a:t>
            </a:fld>
            <a:endParaRPr lang="ru-RU" dirty="0"/>
          </a:p>
        </p:txBody>
      </p:sp>
      <p:sp>
        <p:nvSpPr>
          <p:cNvPr id="18" name="Заголовок 2">
            <a:extLst>
              <a:ext uri="{FF2B5EF4-FFF2-40B4-BE49-F238E27FC236}">
                <a16:creationId xmlns:a16="http://schemas.microsoft.com/office/drawing/2014/main" id="{936A899C-5131-4393-810D-DC5E894327A3}"/>
              </a:ext>
            </a:extLst>
          </p:cNvPr>
          <p:cNvSpPr txBox="1">
            <a:spLocks/>
          </p:cNvSpPr>
          <p:nvPr/>
        </p:nvSpPr>
        <p:spPr>
          <a:xfrm>
            <a:off x="215008" y="508776"/>
            <a:ext cx="8928992" cy="6480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Международные проекты </a:t>
            </a:r>
            <a:b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Месячника школьных библиотек (ISLM) – 2020</a:t>
            </a:r>
            <a:b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B5EB2E4-70C8-4CE0-9B96-8C65FEB90B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392" y="510089"/>
            <a:ext cx="1321607" cy="1341582"/>
          </a:xfrm>
          <a:prstGeom prst="rect">
            <a:avLst/>
          </a:prstGeom>
        </p:spPr>
      </p:pic>
      <p:pic>
        <p:nvPicPr>
          <p:cNvPr id="13" name="Рисунок 2">
            <a:extLst>
              <a:ext uri="{FF2B5EF4-FFF2-40B4-BE49-F238E27FC236}">
                <a16:creationId xmlns:a16="http://schemas.microsoft.com/office/drawing/2014/main" id="{2813F478-B227-4B1F-B196-3768F62A0E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2392" y="3454699"/>
            <a:ext cx="1321607" cy="1003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2">
            <a:extLst>
              <a:ext uri="{FF2B5EF4-FFF2-40B4-BE49-F238E27FC236}">
                <a16:creationId xmlns:a16="http://schemas.microsoft.com/office/drawing/2014/main" id="{AE55AD24-0AD0-49E1-838E-61D4379DF8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2098788"/>
            <a:ext cx="771988" cy="1073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DCA5941-CCDC-41E0-8D23-DAE659446FE8}"/>
              </a:ext>
            </a:extLst>
          </p:cNvPr>
          <p:cNvSpPr txBox="1"/>
          <p:nvPr/>
        </p:nvSpPr>
        <p:spPr>
          <a:xfrm>
            <a:off x="467544" y="1072928"/>
            <a:ext cx="7416824" cy="36732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. Проект «Электронная закладка»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 2019 года был запущен новый проект - обмен электронными закладками. Проект "Электронная закладка" может стать отличной альтернативой для тех школ, для которых  слишком обременительны расходы, связанные с отправкой закладок по почте, а также для школ, расположенных в районах, где почтовые услуги ненадежны или вовсе недоступны.</a:t>
            </a:r>
            <a:b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b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ть проекта обмена электронными закладки та же, что и у проекта по обмену обычными закладками, только эти закладки создаются в электронной форме. У получателей есть возможность распечатать присланные электронные закладки или просто распространить закладки в электронном виде среди своих участников.</a:t>
            </a:r>
            <a:b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b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ординатор проекта обмена электронными закладками:</a:t>
            </a:r>
            <a:b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Чхави</a:t>
            </a:r>
            <a: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жайн</a:t>
            </a:r>
            <a: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ru-RU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havi</a:t>
            </a:r>
            <a: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in</a:t>
            </a:r>
            <a:r>
              <a:rPr lang="ru-RU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: </a:t>
            </a:r>
            <a:r>
              <a:rPr lang="ru-RU" sz="1400" u="sng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iaslchhavi@gmail.com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35453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46178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19</a:t>
            </a:fld>
            <a:endParaRPr lang="ru-RU" dirty="0"/>
          </a:p>
        </p:txBody>
      </p:sp>
      <p:sp>
        <p:nvSpPr>
          <p:cNvPr id="18" name="Заголовок 2">
            <a:extLst>
              <a:ext uri="{FF2B5EF4-FFF2-40B4-BE49-F238E27FC236}">
                <a16:creationId xmlns:a16="http://schemas.microsoft.com/office/drawing/2014/main" id="{936A899C-5131-4393-810D-DC5E894327A3}"/>
              </a:ext>
            </a:extLst>
          </p:cNvPr>
          <p:cNvSpPr txBox="1">
            <a:spLocks/>
          </p:cNvSpPr>
          <p:nvPr/>
        </p:nvSpPr>
        <p:spPr>
          <a:xfrm>
            <a:off x="215008" y="508776"/>
            <a:ext cx="8928992" cy="6480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Международные проекты </a:t>
            </a:r>
            <a:b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Месячника школьных библиотек (ISLM) – 2020</a:t>
            </a:r>
            <a:b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B5EB2E4-70C8-4CE0-9B96-8C65FEB90B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392" y="510089"/>
            <a:ext cx="1321607" cy="1341582"/>
          </a:xfrm>
          <a:prstGeom prst="rect">
            <a:avLst/>
          </a:prstGeom>
        </p:spPr>
      </p:pic>
      <p:pic>
        <p:nvPicPr>
          <p:cNvPr id="13" name="Рисунок 2">
            <a:extLst>
              <a:ext uri="{FF2B5EF4-FFF2-40B4-BE49-F238E27FC236}">
                <a16:creationId xmlns:a16="http://schemas.microsoft.com/office/drawing/2014/main" id="{2813F478-B227-4B1F-B196-3768F62A0E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2392" y="3454699"/>
            <a:ext cx="1321607" cy="1003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2">
            <a:extLst>
              <a:ext uri="{FF2B5EF4-FFF2-40B4-BE49-F238E27FC236}">
                <a16:creationId xmlns:a16="http://schemas.microsoft.com/office/drawing/2014/main" id="{AE55AD24-0AD0-49E1-838E-61D4379DF8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2098788"/>
            <a:ext cx="771988" cy="1073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1BD36B7-A924-430C-AA2D-248738C01337}"/>
              </a:ext>
            </a:extLst>
          </p:cNvPr>
          <p:cNvSpPr txBox="1"/>
          <p:nvPr/>
        </p:nvSpPr>
        <p:spPr>
          <a:xfrm>
            <a:off x="467544" y="1091085"/>
            <a:ext cx="7354847" cy="39864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3. Проект </a:t>
            </a:r>
            <a:r>
              <a:rPr lang="ru-RU" sz="16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kype</a:t>
            </a:r>
            <a:endParaRPr lang="ru-R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ши ученики хотели бы пообщаться во время Международного месячника школьных библиотек с другими школьниками из далекой страны? Главная задача - найти кого-то в своем часовом поясе, тогда вы можете связаться с новыми друзьями по скайпу во время школьных занятий.</a:t>
            </a:r>
            <a:endParaRPr lang="ru-R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сширяйте границы общения! Если вы хотите быть частью проекта </a:t>
            </a:r>
            <a:r>
              <a:rPr lang="ru-RU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kype</a:t>
            </a: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напишите координатору Инес </a:t>
            </a:r>
            <a:r>
              <a:rPr lang="ru-RU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инанти</a:t>
            </a: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и она найдет для вас школу, с которой вы сможете связаться. </a:t>
            </a: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ординатор: Инес </a:t>
            </a:r>
            <a:r>
              <a:rPr lang="ru-RU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инанти</a:t>
            </a: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ru-RU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ez</a:t>
            </a: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inanthi</a:t>
            </a: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  <a:r>
              <a:rPr lang="ru-RU" sz="1600" u="sng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kinantea@gmail.com</a:t>
            </a: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teabubs_fw@yahoo.com</a:t>
            </a:r>
            <a:endParaRPr lang="ru-R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ru-R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7699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2</a:t>
            </a:fld>
            <a:endParaRPr lang="ru-RU" dirty="0"/>
          </a:p>
        </p:txBody>
      </p:sp>
      <p:sp>
        <p:nvSpPr>
          <p:cNvPr id="18" name="Заголовок 2">
            <a:extLst>
              <a:ext uri="{FF2B5EF4-FFF2-40B4-BE49-F238E27FC236}">
                <a16:creationId xmlns:a16="http://schemas.microsoft.com/office/drawing/2014/main" id="{936A899C-5131-4393-810D-DC5E894327A3}"/>
              </a:ext>
            </a:extLst>
          </p:cNvPr>
          <p:cNvSpPr txBox="1">
            <a:spLocks/>
          </p:cNvSpPr>
          <p:nvPr/>
        </p:nvSpPr>
        <p:spPr>
          <a:xfrm>
            <a:off x="107504" y="123478"/>
            <a:ext cx="8928992" cy="6480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Международный месячник школьных библиотек (ISLM) – 2020</a:t>
            </a:r>
            <a:b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Тема этого года: «Найти свой путь к хорошему здоровью и благополучию»</a:t>
            </a:r>
            <a:endParaRPr lang="ru-RU" sz="2000" b="1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745976E-6CE6-4380-B749-6D71B96F7851}"/>
              </a:ext>
            </a:extLst>
          </p:cNvPr>
          <p:cNvSpPr/>
          <p:nvPr/>
        </p:nvSpPr>
        <p:spPr>
          <a:xfrm>
            <a:off x="320201" y="1038828"/>
            <a:ext cx="7780191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Уже в течение 12-ти лет в октябре в связи с усилением роли школьных библиотек в образовании в разных концах мира и России проводится Международный месячник школьных библиотек в поддержку школьных библиотек и детского чтения</a:t>
            </a:r>
          </a:p>
          <a:p>
            <a:pPr algn="ctr"/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Тема российского месячника школьных библиотек – 20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/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Добру откроем сердце. Обнимем ребенка с книгой»</a:t>
            </a:r>
            <a:endParaRPr lang="ru-RU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34BD503-6AC0-43F6-9112-4073FDDE40C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1516" y="1059582"/>
            <a:ext cx="1321607" cy="1341582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A253BD8-DBEE-4351-B2E4-F8AB869AF5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03041" y="3454699"/>
            <a:ext cx="4337918" cy="1447959"/>
          </a:xfrm>
          <a:prstGeom prst="rect">
            <a:avLst/>
          </a:prstGeom>
        </p:spPr>
      </p:pic>
      <p:pic>
        <p:nvPicPr>
          <p:cNvPr id="11" name="Рисунок 2">
            <a:extLst>
              <a:ext uri="{FF2B5EF4-FFF2-40B4-BE49-F238E27FC236}">
                <a16:creationId xmlns:a16="http://schemas.microsoft.com/office/drawing/2014/main" id="{6124B643-8F86-4433-ABC8-82D2EC02AB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5854" y="3082597"/>
            <a:ext cx="1321607" cy="1003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65964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46178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20</a:t>
            </a:fld>
            <a:endParaRPr lang="ru-RU" dirty="0"/>
          </a:p>
        </p:txBody>
      </p:sp>
      <p:sp>
        <p:nvSpPr>
          <p:cNvPr id="18" name="Заголовок 2">
            <a:extLst>
              <a:ext uri="{FF2B5EF4-FFF2-40B4-BE49-F238E27FC236}">
                <a16:creationId xmlns:a16="http://schemas.microsoft.com/office/drawing/2014/main" id="{936A899C-5131-4393-810D-DC5E894327A3}"/>
              </a:ext>
            </a:extLst>
          </p:cNvPr>
          <p:cNvSpPr txBox="1">
            <a:spLocks/>
          </p:cNvSpPr>
          <p:nvPr/>
        </p:nvSpPr>
        <p:spPr>
          <a:xfrm>
            <a:off x="215008" y="508776"/>
            <a:ext cx="8928992" cy="6480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Международные проекты </a:t>
            </a:r>
            <a:b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Месячника школьных библиотек (ISLM) – 2020</a:t>
            </a:r>
            <a:b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B5EB2E4-70C8-4CE0-9B96-8C65FEB90B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392" y="510089"/>
            <a:ext cx="1321607" cy="1341582"/>
          </a:xfrm>
          <a:prstGeom prst="rect">
            <a:avLst/>
          </a:prstGeom>
        </p:spPr>
      </p:pic>
      <p:pic>
        <p:nvPicPr>
          <p:cNvPr id="13" name="Рисунок 2">
            <a:extLst>
              <a:ext uri="{FF2B5EF4-FFF2-40B4-BE49-F238E27FC236}">
                <a16:creationId xmlns:a16="http://schemas.microsoft.com/office/drawing/2014/main" id="{2813F478-B227-4B1F-B196-3768F62A0E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2392" y="3454699"/>
            <a:ext cx="1321607" cy="1003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2">
            <a:extLst>
              <a:ext uri="{FF2B5EF4-FFF2-40B4-BE49-F238E27FC236}">
                <a16:creationId xmlns:a16="http://schemas.microsoft.com/office/drawing/2014/main" id="{AE55AD24-0AD0-49E1-838E-61D4379DF8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2098788"/>
            <a:ext cx="771988" cy="1073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F75C319-D143-4838-926A-8E900FD8D93D}"/>
              </a:ext>
            </a:extLst>
          </p:cNvPr>
          <p:cNvSpPr txBox="1"/>
          <p:nvPr/>
        </p:nvSpPr>
        <p:spPr>
          <a:xfrm>
            <a:off x="539552" y="927886"/>
            <a:ext cx="7488832" cy="40888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. Что мы делаем для ISLM 2020</a:t>
            </a:r>
            <a:endParaRPr lang="ru-R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шлите вашу заявку для участия в проекте "Что мы делаем для ISLM 2020" на электронную почту в Секретариат ИАСЛ celebrateschoollibraries@gmail.com </a:t>
            </a:r>
            <a:r>
              <a:rPr lang="ru-RU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е позднее 14 декабря 2020 г.</a:t>
            </a:r>
            <a:endParaRPr lang="ru-R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теме письма укажите: </a:t>
            </a:r>
            <a:r>
              <a:rPr lang="ru-RU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еятельность ISLM.</a:t>
            </a: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ru-R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заявке должна содержаться следующая информация: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рана. Имя. Ваша должность. Название вашей школы или организации. Краткое описание вашей деятельности относительно ISLM. Интернет-ссылки (в случае необходимости). До 6 фото, иллюстрирующих ваш доклад.</a:t>
            </a:r>
            <a:endParaRPr lang="ru-R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ту и другую информацию вы можете найти на сайте IASL в разделе «Международный месячник школьных библиотек (ISLM)»: </a:t>
            </a:r>
            <a:b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6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ttps://iasl-online.org/advocacy/islm/index.html</a:t>
            </a:r>
            <a:endParaRPr lang="ru-R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7135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46178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21</a:t>
            </a:fld>
            <a:endParaRPr lang="ru-RU" dirty="0"/>
          </a:p>
        </p:txBody>
      </p:sp>
      <p:sp>
        <p:nvSpPr>
          <p:cNvPr id="18" name="Заголовок 2">
            <a:extLst>
              <a:ext uri="{FF2B5EF4-FFF2-40B4-BE49-F238E27FC236}">
                <a16:creationId xmlns:a16="http://schemas.microsoft.com/office/drawing/2014/main" id="{936A899C-5131-4393-810D-DC5E894327A3}"/>
              </a:ext>
            </a:extLst>
          </p:cNvPr>
          <p:cNvSpPr txBox="1">
            <a:spLocks/>
          </p:cNvSpPr>
          <p:nvPr/>
        </p:nvSpPr>
        <p:spPr>
          <a:xfrm>
            <a:off x="107504" y="150962"/>
            <a:ext cx="8928992" cy="6480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Международный месячник школьных библиотек (ISLM) – 2020</a:t>
            </a:r>
            <a:b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5C12DDA2-AFE2-4F20-B756-54B604BCE4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748" y="922144"/>
            <a:ext cx="7814627" cy="3785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ле 10-ти лет празднования Международного Дня школьных библиотек, который приходился на четвертый понедельник октября каждого года, в январе 2008 года Советом Международной ассоциации школьных библиотек (IASL/ИАСЛ) был учрежден Международный месячник школьных библиотек (ISLM), который официально вступил в силу в октябре 2008 года.</a:t>
            </a:r>
          </a:p>
          <a:p>
            <a:pPr>
              <a:spcBef>
                <a:spcPct val="0"/>
              </a:spcBef>
              <a:buFontTx/>
              <a:buNone/>
            </a:pPr>
            <a:endParaRPr lang="ru-RU" altLang="ru-RU" sz="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ждународный месячник школьных библиотек дает возможность всем, кто занимается школьными библиотеками во всем мире, выбрать наиболее удобный  день в октябре, чтобы отметить важность школьных библиотек.</a:t>
            </a:r>
          </a:p>
          <a:p>
            <a:pPr>
              <a:spcBef>
                <a:spcPct val="0"/>
              </a:spcBef>
              <a:buFontTx/>
              <a:buNone/>
            </a:pPr>
            <a:endParaRPr lang="ru-RU" altLang="ru-RU" sz="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сячник 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это время привлечения всеобщего внимания к школьным библиотекам, детскому чтению и  это возможность поддержать школьных библиотекарей и дать им признание, которого они заслуживают.</a:t>
            </a:r>
          </a:p>
          <a:p>
            <a:pPr>
              <a:spcBef>
                <a:spcPct val="0"/>
              </a:spcBef>
              <a:buFontTx/>
              <a:buNone/>
            </a:pPr>
            <a:endParaRPr lang="ru-RU" altLang="ru-RU" sz="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ссийские школьные библиотекари два раза в год имеют возможность отмечать свой профессиональный праздник: 27 мая – в Общероссийский день библиотек и в октябре – </a:t>
            </a:r>
            <a:r>
              <a:rPr lang="ru-RU" alt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о время Международного месячника школьных библиотек</a:t>
            </a:r>
            <a:r>
              <a:rPr lang="ru-RU" alt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55ACA60-563A-4C77-A33C-E251245A28C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392" y="510089"/>
            <a:ext cx="1321607" cy="1341582"/>
          </a:xfrm>
          <a:prstGeom prst="rect">
            <a:avLst/>
          </a:prstGeom>
        </p:spPr>
      </p:pic>
      <p:pic>
        <p:nvPicPr>
          <p:cNvPr id="10" name="Рисунок 2">
            <a:extLst>
              <a:ext uri="{FF2B5EF4-FFF2-40B4-BE49-F238E27FC236}">
                <a16:creationId xmlns:a16="http://schemas.microsoft.com/office/drawing/2014/main" id="{DCDCCCB0-E64D-41A3-AA0D-16CE5C7DFA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2392" y="3454699"/>
            <a:ext cx="1321607" cy="1003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2">
            <a:extLst>
              <a:ext uri="{FF2B5EF4-FFF2-40B4-BE49-F238E27FC236}">
                <a16:creationId xmlns:a16="http://schemas.microsoft.com/office/drawing/2014/main" id="{0DBF3F78-8653-4694-BF3B-08AFB784F7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2098788"/>
            <a:ext cx="771988" cy="1073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23501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F578F9C-5C13-420F-B58D-305AE99B0D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22</a:t>
            </a:fld>
            <a:endParaRPr lang="ru-RU"/>
          </a:p>
        </p:txBody>
      </p:sp>
      <p:pic>
        <p:nvPicPr>
          <p:cNvPr id="8" name="Рисунок 7" descr="Изображение выглядит как книга, текст, человек,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21E8BE4F-1075-4F12-A169-E7D4959F05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485" y="1197988"/>
            <a:ext cx="2455302" cy="3363838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7F6CD67-9879-4D53-9B07-39F03D9B1FF8}"/>
              </a:ext>
            </a:extLst>
          </p:cNvPr>
          <p:cNvSpPr/>
          <p:nvPr/>
        </p:nvSpPr>
        <p:spPr>
          <a:xfrm>
            <a:off x="0" y="0"/>
            <a:ext cx="9144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4228"/>
                </a:solidFill>
                <a:latin typeface="Arial" panose="020B0604020202020204" pitchFamily="34" charset="0"/>
              </a:rPr>
              <a:t>Старт месячнику школьных библиотек в России под девизом </a:t>
            </a:r>
            <a:br>
              <a:rPr lang="ru-RU" b="1" dirty="0">
                <a:solidFill>
                  <a:srgbClr val="004228"/>
                </a:solidFill>
                <a:latin typeface="Arial" panose="020B0604020202020204" pitchFamily="34" charset="0"/>
              </a:rPr>
            </a:br>
            <a:r>
              <a:rPr lang="ru-RU" b="1" dirty="0">
                <a:solidFill>
                  <a:srgbClr val="004228"/>
                </a:solidFill>
                <a:latin typeface="Arial" panose="020B0604020202020204" pitchFamily="34" charset="0"/>
              </a:rPr>
              <a:t>«Школьные библиотеки – на повестке дня!» был дан 2 октября 2008 года </a:t>
            </a:r>
            <a:br>
              <a:rPr lang="ru-RU" b="1" dirty="0">
                <a:solidFill>
                  <a:srgbClr val="004228"/>
                </a:solidFill>
                <a:latin typeface="Arial" panose="020B0604020202020204" pitchFamily="34" charset="0"/>
              </a:rPr>
            </a:br>
            <a:r>
              <a:rPr lang="ru-RU" b="1" dirty="0">
                <a:solidFill>
                  <a:srgbClr val="004228"/>
                </a:solidFill>
                <a:latin typeface="Arial" panose="020B0604020202020204" pitchFamily="34" charset="0"/>
              </a:rPr>
              <a:t>на пресс-конференции в Центральном Доме журналиста</a:t>
            </a:r>
            <a:endParaRPr lang="ru-RU" dirty="0"/>
          </a:p>
        </p:txBody>
      </p:sp>
      <p:pic>
        <p:nvPicPr>
          <p:cNvPr id="11" name="Рисунок 10" descr="Изображение выглядит как человек, стол, внутренний, люди&#10;&#10;Автоматически созданное описание">
            <a:extLst>
              <a:ext uri="{FF2B5EF4-FFF2-40B4-BE49-F238E27FC236}">
                <a16:creationId xmlns:a16="http://schemas.microsoft.com/office/drawing/2014/main" id="{FCD4D679-E51E-4C63-ABD2-91C665F8F7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0162" y="1197988"/>
            <a:ext cx="4497109" cy="336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5043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F578F9C-5C13-420F-B58D-305AE99B0D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23</a:t>
            </a:fld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95EB1C4-C381-4022-8E83-395C5073154F}"/>
              </a:ext>
            </a:extLst>
          </p:cNvPr>
          <p:cNvSpPr/>
          <p:nvPr/>
        </p:nvSpPr>
        <p:spPr>
          <a:xfrm>
            <a:off x="0" y="26744"/>
            <a:ext cx="91292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ъезд школьных библиотекарей Южного федерального округа</a:t>
            </a:r>
            <a:endParaRPr lang="ru-RU" sz="2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Анапа, 23–28 сентября 2008 года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E2ECCD3-6ADF-4BE5-BF16-A4C566DF45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6400" y="1025517"/>
            <a:ext cx="5198813" cy="2485771"/>
          </a:xfrm>
          <a:prstGeom prst="rect">
            <a:avLst/>
          </a:prstGeom>
        </p:spPr>
      </p:pic>
      <p:pic>
        <p:nvPicPr>
          <p:cNvPr id="9" name="Рисунок 8" descr="Изображение выглядит как человек, внешний, дерево, люди&#10;&#10;Автоматически созданное описание">
            <a:extLst>
              <a:ext uri="{FF2B5EF4-FFF2-40B4-BE49-F238E27FC236}">
                <a16:creationId xmlns:a16="http://schemas.microsoft.com/office/drawing/2014/main" id="{2CF8CEC5-3215-4B9B-A8F0-4179CF0193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186" y="1491630"/>
            <a:ext cx="4179814" cy="2808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6244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F578F9C-5C13-420F-B58D-305AE99B0D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24</a:t>
            </a:fld>
            <a:endParaRPr lang="ru-RU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AB77B55-F8E5-4E93-A035-FEFC979846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028" y="915565"/>
            <a:ext cx="4240530" cy="3736251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95EB1C4-C381-4022-8E83-395C5073154F}"/>
              </a:ext>
            </a:extLst>
          </p:cNvPr>
          <p:cNvSpPr/>
          <p:nvPr/>
        </p:nvSpPr>
        <p:spPr>
          <a:xfrm>
            <a:off x="0" y="26744"/>
            <a:ext cx="91052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ъезд школьных библиотекарей Приволжского федерального округа</a:t>
            </a:r>
            <a:endParaRPr lang="ru-RU" sz="2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Ульяновск, 6–9 октября 2008 года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184120D-5271-48BC-AE73-9234E9DEC169}"/>
              </a:ext>
            </a:extLst>
          </p:cNvPr>
          <p:cNvSpPr/>
          <p:nvPr/>
        </p:nvSpPr>
        <p:spPr>
          <a:xfrm>
            <a:off x="4582443" y="798111"/>
            <a:ext cx="4572000" cy="397031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latin typeface="NewtonC"/>
              </a:rPr>
              <a:t>На церемонии закрытия Съезда было</a:t>
            </a:r>
          </a:p>
          <a:p>
            <a:r>
              <a:rPr lang="ru-RU" dirty="0">
                <a:latin typeface="NewtonC"/>
              </a:rPr>
              <a:t>отмечено его историческое значение для</a:t>
            </a:r>
          </a:p>
          <a:p>
            <a:r>
              <a:rPr lang="ru-RU" dirty="0">
                <a:latin typeface="NewtonC"/>
              </a:rPr>
              <a:t>прорыва в деятельности школьных библиотек округа и профессионального роста каждого его делегата.</a:t>
            </a:r>
          </a:p>
          <a:p>
            <a:r>
              <a:rPr lang="ru-RU" dirty="0">
                <a:latin typeface="NewtonC"/>
              </a:rPr>
              <a:t>Съезд принял решение поддержать законодательно инициативу Губернатора</a:t>
            </a:r>
          </a:p>
          <a:p>
            <a:r>
              <a:rPr lang="ru-RU" dirty="0">
                <a:latin typeface="NewtonC"/>
              </a:rPr>
              <a:t>Ульяновской области С.И. Морозова о</a:t>
            </a:r>
          </a:p>
          <a:p>
            <a:r>
              <a:rPr lang="ru-RU" dirty="0">
                <a:latin typeface="NewtonC"/>
              </a:rPr>
              <a:t>назначении заведующих школьными библиотеками заместителями директора школы по информационной работе и распространить эту инициативу на все регионы Приволжского Федерального округа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830801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F578F9C-5C13-420F-B58D-305AE99B0D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25</a:t>
            </a:fld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95EB1C4-C381-4022-8E83-395C5073154F}"/>
              </a:ext>
            </a:extLst>
          </p:cNvPr>
          <p:cNvSpPr/>
          <p:nvPr/>
        </p:nvSpPr>
        <p:spPr>
          <a:xfrm>
            <a:off x="0" y="26744"/>
            <a:ext cx="91052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ъезд школьных библиотекарей Центрального федерального округа</a:t>
            </a:r>
            <a:endParaRPr lang="ru-RU" sz="2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Москва, 30 октября 2008 года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184120D-5271-48BC-AE73-9234E9DEC169}"/>
              </a:ext>
            </a:extLst>
          </p:cNvPr>
          <p:cNvSpPr/>
          <p:nvPr/>
        </p:nvSpPr>
        <p:spPr>
          <a:xfrm>
            <a:off x="4244905" y="919348"/>
            <a:ext cx="4899095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NewtonC"/>
              </a:rPr>
              <a:t>В рамках октябрьского месячника «Школьные библиотеки — на повестке дня!» в Москве на Старой площади в здании Администрации полномочного представителя Президента Российской Федерации в Центральном федеральном округе прошел Съезд школьных библиотекарей Центрального федерального округа, который был посвящен возрождению лучших традиций российского образования и духовно-нравственного воспитания детей через библиотеку и чтение.</a:t>
            </a:r>
            <a:endParaRPr lang="ru-RU" sz="2000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7A1C3D2-D1D4-48A6-8A69-8400F1A8FD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424" y="1779662"/>
            <a:ext cx="4053491" cy="2394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8918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F578F9C-5C13-420F-B58D-305AE99B0D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26</a:t>
            </a:fld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95EB1C4-C381-4022-8E83-395C5073154F}"/>
              </a:ext>
            </a:extLst>
          </p:cNvPr>
          <p:cNvSpPr/>
          <p:nvPr/>
        </p:nvSpPr>
        <p:spPr>
          <a:xfrm>
            <a:off x="0" y="26744"/>
            <a:ext cx="91052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ъезд школьных библиотекарей Уральского федерального округа</a:t>
            </a:r>
            <a:endParaRPr lang="ru-RU" sz="2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Екатеринбург, 26-28 ноября 2008 года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184120D-5271-48BC-AE73-9234E9DEC169}"/>
              </a:ext>
            </a:extLst>
          </p:cNvPr>
          <p:cNvSpPr/>
          <p:nvPr/>
        </p:nvSpPr>
        <p:spPr>
          <a:xfrm>
            <a:off x="2723423" y="981231"/>
            <a:ext cx="63722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latin typeface="NewtonC"/>
              </a:rPr>
              <a:t>Из приветствия министра общего и профессионального образования Свердловской области В.В. Нестерова:</a:t>
            </a:r>
          </a:p>
          <a:p>
            <a:r>
              <a:rPr lang="ru-RU" sz="2000" dirty="0">
                <a:latin typeface="NewtonC"/>
              </a:rPr>
              <a:t>Школьная библиотека для многих детей становится местом, где человек начинает ощущать великое таинство книги. Библиотека — одно из самых главных слов в истории человечества. Мы в Свердловской области стремимся к тому, чтобы школьные библиотеки развивались. Надо, чтобы в школьной библиотеке был и заведующий, и библиотекарь по организации работы в читальном зале, и обязательно библиограф — по этому пути надо идти, а не по пути «экономии» за счет зарплаты библиотекаря.</a:t>
            </a:r>
            <a:endParaRPr lang="ru-RU" sz="2000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3AFBD08-BF4A-4825-8132-567448BF38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528" y="1197011"/>
            <a:ext cx="2232248" cy="2749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2777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F578F9C-5C13-420F-B58D-305AE99B0D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27</a:t>
            </a:fld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95EB1C4-C381-4022-8E83-395C5073154F}"/>
              </a:ext>
            </a:extLst>
          </p:cNvPr>
          <p:cNvSpPr/>
          <p:nvPr/>
        </p:nvSpPr>
        <p:spPr>
          <a:xfrm>
            <a:off x="0" y="26744"/>
            <a:ext cx="910525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ламентские слушания на тему </a:t>
            </a:r>
            <a:br>
              <a:rPr lang="ru-RU" sz="20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Законодательное обеспечение деятельности библиотек общеобразовательных учреждений в сфере духовно-нравственного воспитания детей»</a:t>
            </a:r>
            <a:br>
              <a:rPr lang="ru-RU" sz="20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Москва, Государственная Дума, 1 июня 2009 года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184120D-5271-48BC-AE73-9234E9DEC169}"/>
              </a:ext>
            </a:extLst>
          </p:cNvPr>
          <p:cNvSpPr/>
          <p:nvPr/>
        </p:nvSpPr>
        <p:spPr>
          <a:xfrm>
            <a:off x="4645919" y="1806024"/>
            <a:ext cx="421196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NewtonC"/>
              </a:rPr>
              <a:t>Слушания, посвященные проблемам школьных библиотек, были инициированы Русской школьной библиотечной ассоциацией. Организаторами выступили три комитета Государственной Думы: Комитет по вопросам семьи, женщин и детей, Комитет по культуре, Комитет по образованию.</a:t>
            </a:r>
            <a:endParaRPr lang="ru-RU" sz="2000" dirty="0"/>
          </a:p>
        </p:txBody>
      </p:sp>
      <p:pic>
        <p:nvPicPr>
          <p:cNvPr id="8" name="Рисунок 7" descr="Изображение выглядит как стол, внутренний, пол, человек&#10;&#10;Автоматически созданное описание">
            <a:extLst>
              <a:ext uri="{FF2B5EF4-FFF2-40B4-BE49-F238E27FC236}">
                <a16:creationId xmlns:a16="http://schemas.microsoft.com/office/drawing/2014/main" id="{79637B8B-5ECF-41BB-9EFF-0E9E944A5C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984" y="1817412"/>
            <a:ext cx="4127016" cy="2879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14856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F578F9C-5C13-420F-B58D-305AE99B0D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28</a:t>
            </a:fld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95EB1C4-C381-4022-8E83-395C5073154F}"/>
              </a:ext>
            </a:extLst>
          </p:cNvPr>
          <p:cNvSpPr/>
          <p:nvPr/>
        </p:nvSpPr>
        <p:spPr>
          <a:xfrm>
            <a:off x="0" y="26744"/>
            <a:ext cx="9105254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ъезд школьных библиотекарей Северо-Западного федерального округа</a:t>
            </a:r>
            <a:endParaRPr lang="ru-RU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Санкт-Петербург, 28 февраля – 4 марта 2010 года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EAFF86F-4C76-4BB3-83A6-6F36F1A0E023}"/>
              </a:ext>
            </a:extLst>
          </p:cNvPr>
          <p:cNvSpPr/>
          <p:nvPr/>
        </p:nvSpPr>
        <p:spPr>
          <a:xfrm>
            <a:off x="2422599" y="4728450"/>
            <a:ext cx="61206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зидентская библиотека им. Б.Н. Ельцина</a:t>
            </a:r>
            <a:endParaRPr lang="ru-RU" sz="1400" dirty="0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4014A539-4F94-42C9-8431-22E94E870A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772036"/>
            <a:ext cx="5684220" cy="3789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3">
            <a:extLst>
              <a:ext uri="{FF2B5EF4-FFF2-40B4-BE49-F238E27FC236}">
                <a16:creationId xmlns:a16="http://schemas.microsoft.com/office/drawing/2014/main" id="{779A406F-88D4-40E0-BD0E-7E134365A5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3092" y="2896436"/>
            <a:ext cx="4105085" cy="1475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7148898F-8814-4A49-8570-DB1E566BE7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764531"/>
            <a:ext cx="1507905" cy="2050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965053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7A3EBFD-4E9E-4C51-B7C7-79D8801644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29</a:t>
            </a:fld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7740AEF-DFFC-4328-8236-2EA21319E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2986" y="1592547"/>
            <a:ext cx="4421501" cy="2930240"/>
          </a:xfrm>
        </p:spPr>
        <p:txBody>
          <a:bodyPr>
            <a:normAutofit fontScale="90000"/>
          </a:bodyPr>
          <a:lstStyle/>
          <a:p>
            <a:pPr algn="l">
              <a:lnSpc>
                <a:spcPct val="100000"/>
              </a:lnSpc>
              <a:defRPr/>
            </a:pPr>
            <a:r>
              <a:rPr lang="ru-RU" sz="180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«Нашей новой школе» </a:t>
            </a:r>
            <a:r>
              <a:rPr lang="en-US" sz="180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XXI</a:t>
            </a:r>
            <a:r>
              <a:rPr lang="ru-RU" sz="180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ека педагог-библиотекарь становится одной из ключевых фигур в процессе общего образования, проводником информационной культуры для учителей и учащихся, а школьная библиотека – площадкой для педагогических инноваций, комфортной образовательной средой для развития способностей учащихся и подготовки их к жизни.</a:t>
            </a:r>
            <a:br>
              <a:rPr lang="ru-RU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Текст 2">
            <a:extLst>
              <a:ext uri="{FF2B5EF4-FFF2-40B4-BE49-F238E27FC236}">
                <a16:creationId xmlns:a16="http://schemas.microsoft.com/office/drawing/2014/main" id="{7F223F08-E96A-43D2-A5BB-7EEDBBCD10DC}"/>
              </a:ext>
            </a:extLst>
          </p:cNvPr>
          <p:cNvSpPr txBox="1">
            <a:spLocks/>
          </p:cNvSpPr>
          <p:nvPr/>
        </p:nvSpPr>
        <p:spPr>
          <a:xfrm>
            <a:off x="557212" y="267494"/>
            <a:ext cx="8263260" cy="13250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ct val="20000"/>
              </a:spcBef>
              <a:buFont typeface="Arial" pitchFamily="34" charset="0"/>
              <a:buNone/>
              <a:defRPr sz="6000" kern="1200">
                <a:solidFill>
                  <a:schemeClr val="tx1">
                    <a:lumMod val="50000"/>
                    <a:lumOff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defRPr/>
            </a:pPr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жным событием 2011 года стало введение в школы Российской Федерации должности «педагог-библиотекарь»: </a:t>
            </a:r>
            <a:br>
              <a:rPr lang="ru-RU" sz="16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мьер-министр В.В. Путин объявил о введении нового статуса школьного библиотекаря в своем докладе на съезде Всероссийского педагогического собрания 31 мая 2011 г. 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BCAF93C1-C05A-4AB9-8A2B-64A7527824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554" y="1752175"/>
            <a:ext cx="3623911" cy="2712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8024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3</a:t>
            </a:fld>
            <a:endParaRPr lang="ru-RU" dirty="0"/>
          </a:p>
        </p:txBody>
      </p:sp>
      <p:sp>
        <p:nvSpPr>
          <p:cNvPr id="18" name="Заголовок 2">
            <a:extLst>
              <a:ext uri="{FF2B5EF4-FFF2-40B4-BE49-F238E27FC236}">
                <a16:creationId xmlns:a16="http://schemas.microsoft.com/office/drawing/2014/main" id="{936A899C-5131-4393-810D-DC5E894327A3}"/>
              </a:ext>
            </a:extLst>
          </p:cNvPr>
          <p:cNvSpPr txBox="1">
            <a:spLocks/>
          </p:cNvSpPr>
          <p:nvPr/>
        </p:nvSpPr>
        <p:spPr>
          <a:xfrm>
            <a:off x="182974" y="242250"/>
            <a:ext cx="8928992" cy="88934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Международный месячник школьных библиотек (ISLM) – 2020</a:t>
            </a:r>
            <a:b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000" b="1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ru-RU" sz="2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«Найти свой путь к хорошему здоровью и благополучию»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745976E-6CE6-4380-B749-6D71B96F7851}"/>
              </a:ext>
            </a:extLst>
          </p:cNvPr>
          <p:cNvSpPr/>
          <p:nvPr/>
        </p:nvSpPr>
        <p:spPr>
          <a:xfrm>
            <a:off x="229687" y="1203598"/>
            <a:ext cx="7488832" cy="29387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ема</a:t>
            </a:r>
            <a:r>
              <a:rPr lang="ru-RU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вязана с одной из целей в области устойчивого развития ООН, а именно с Целью №3: «Хорошее здоровье и благополучие». Организаторы  предлагают всем участникам подумать и отметить связь между книгами, чтением, школьными библиотеками, хорошим здоровьем и благополучием, поучаствовать в проектах и мероприятиях месячника, развить тему этого года.  Международная ассоциация школьных библиотек надеется, что в этом году месячник пройдет очень творчески и станет впечатляющим всемирным праздником для школьных библиотек всего мира.</a:t>
            </a:r>
            <a:endParaRPr lang="ru-RU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34BD503-6AC0-43F6-9112-4073FDDE40C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392" y="510089"/>
            <a:ext cx="1321607" cy="1341582"/>
          </a:xfrm>
          <a:prstGeom prst="rect">
            <a:avLst/>
          </a:prstGeom>
        </p:spPr>
      </p:pic>
      <p:pic>
        <p:nvPicPr>
          <p:cNvPr id="11" name="Рисунок 2">
            <a:extLst>
              <a:ext uri="{FF2B5EF4-FFF2-40B4-BE49-F238E27FC236}">
                <a16:creationId xmlns:a16="http://schemas.microsoft.com/office/drawing/2014/main" id="{6124B643-8F86-4433-ABC8-82D2EC02AB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2392" y="3454699"/>
            <a:ext cx="1321607" cy="1003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89866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F578F9C-5C13-420F-B58D-305AE99B0D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3279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30</a:t>
            </a:fld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95EB1C4-C381-4022-8E83-395C5073154F}"/>
              </a:ext>
            </a:extLst>
          </p:cNvPr>
          <p:cNvSpPr/>
          <p:nvPr/>
        </p:nvSpPr>
        <p:spPr>
          <a:xfrm>
            <a:off x="0" y="26744"/>
            <a:ext cx="9105254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народный месячник школьных библиотек стартовал на Камчатке</a:t>
            </a:r>
            <a:br>
              <a:rPr lang="ru-RU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Елизово, 1 октября 2013 года</a:t>
            </a: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CCCEFDEC-9129-4D1B-B99E-05E4FE52DE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8778" y="2531262"/>
            <a:ext cx="2857500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58FE5DC8-B5B9-4B4B-A1E2-362B9A022F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2454" y="2778912"/>
            <a:ext cx="2527300" cy="1895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70B76A53-B06A-416F-96B4-98267FA970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041" y="1083900"/>
            <a:ext cx="2857500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>
            <a:extLst>
              <a:ext uri="{FF2B5EF4-FFF2-40B4-BE49-F238E27FC236}">
                <a16:creationId xmlns:a16="http://schemas.microsoft.com/office/drawing/2014/main" id="{D2963CEC-6332-4621-825D-B38A3E09E4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1305" y="1083900"/>
            <a:ext cx="2857500" cy="1895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>
            <a:extLst>
              <a:ext uri="{FF2B5EF4-FFF2-40B4-BE49-F238E27FC236}">
                <a16:creationId xmlns:a16="http://schemas.microsoft.com/office/drawing/2014/main" id="{04AE44B5-875F-4B22-9C1E-4D7F233939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1083900"/>
            <a:ext cx="2857501" cy="1895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201784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z="1600" smtClean="0"/>
              <a:t>31</a:t>
            </a:fld>
            <a:endParaRPr lang="ru-RU" sz="1600" dirty="0"/>
          </a:p>
        </p:txBody>
      </p:sp>
      <p:sp>
        <p:nvSpPr>
          <p:cNvPr id="10" name="Прямоугольник 4">
            <a:extLst>
              <a:ext uri="{FF2B5EF4-FFF2-40B4-BE49-F238E27FC236}">
                <a16:creationId xmlns:a16="http://schemas.microsoft.com/office/drawing/2014/main" id="{B49EED05-6A77-4B72-8BB1-97CD9BFCAC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3687" y="60568"/>
            <a:ext cx="856932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600" b="1" dirty="0">
                <a:solidFill>
                  <a:srgbClr val="C00000"/>
                </a:solidFill>
              </a:rPr>
              <a:t>Всемирный форум Международной ассоциации школьных библиотек </a:t>
            </a:r>
          </a:p>
          <a:p>
            <a:pPr algn="ctr" eaLnBrk="1" hangingPunct="1"/>
            <a:r>
              <a:rPr lang="ru-RU" altLang="ru-RU" sz="1600" b="1" dirty="0">
                <a:solidFill>
                  <a:srgbClr val="C00000"/>
                </a:solidFill>
              </a:rPr>
              <a:t>IASL-2014</a:t>
            </a: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0B079212-D67B-4A5D-8850-50CB428A20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788932"/>
            <a:ext cx="2163922" cy="1440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8403D36E-63C1-427C-8450-09916FFAFD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3151430"/>
            <a:ext cx="2163922" cy="1440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A9AA57E8-5C7A-4042-9C12-2D80DC899A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3372" y="1986398"/>
            <a:ext cx="2165698" cy="1440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5">
            <a:extLst>
              <a:ext uri="{FF2B5EF4-FFF2-40B4-BE49-F238E27FC236}">
                <a16:creationId xmlns:a16="http://schemas.microsoft.com/office/drawing/2014/main" id="{147F3239-282B-4CB0-A23E-4A4C557664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869" y="728686"/>
            <a:ext cx="4717503" cy="3863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730037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z="1600" smtClean="0"/>
              <a:t>32</a:t>
            </a:fld>
            <a:endParaRPr lang="ru-RU" sz="1600" dirty="0"/>
          </a:p>
        </p:txBody>
      </p:sp>
      <p:sp>
        <p:nvSpPr>
          <p:cNvPr id="10" name="Прямоугольник 4">
            <a:extLst>
              <a:ext uri="{FF2B5EF4-FFF2-40B4-BE49-F238E27FC236}">
                <a16:creationId xmlns:a16="http://schemas.microsoft.com/office/drawing/2014/main" id="{B49EED05-6A77-4B72-8BB1-97CD9BFCAC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3687" y="60568"/>
            <a:ext cx="856932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600" b="1" dirty="0">
                <a:solidFill>
                  <a:srgbClr val="C00000"/>
                </a:solidFill>
              </a:rPr>
              <a:t>Всемирный форум Международной ассоциации школьных библиотек </a:t>
            </a:r>
          </a:p>
          <a:p>
            <a:pPr algn="ctr" eaLnBrk="1" hangingPunct="1"/>
            <a:r>
              <a:rPr lang="ru-RU" altLang="ru-RU" sz="1600" b="1" dirty="0">
                <a:solidFill>
                  <a:srgbClr val="C00000"/>
                </a:solidFill>
              </a:rPr>
              <a:t>IASL-2014</a:t>
            </a:r>
          </a:p>
        </p:txBody>
      </p:sp>
      <p:pic>
        <p:nvPicPr>
          <p:cNvPr id="20" name="Рисунок 3">
            <a:extLst>
              <a:ext uri="{FF2B5EF4-FFF2-40B4-BE49-F238E27FC236}">
                <a16:creationId xmlns:a16="http://schemas.microsoft.com/office/drawing/2014/main" id="{7731AB12-7EC6-4158-BCFC-F772D199C1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381" y="843558"/>
            <a:ext cx="4972886" cy="330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Рисунок 7">
            <a:extLst>
              <a:ext uri="{FF2B5EF4-FFF2-40B4-BE49-F238E27FC236}">
                <a16:creationId xmlns:a16="http://schemas.microsoft.com/office/drawing/2014/main" id="{37C6844B-13C6-49BD-A80A-D6D3C6672B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8498" y="3130859"/>
            <a:ext cx="4979121" cy="1529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F9D749AF-0807-4907-B9F0-252F96561B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3525" y="843558"/>
            <a:ext cx="2784093" cy="2089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134418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33</a:t>
            </a:fld>
            <a:endParaRPr lang="ru-RU" dirty="0"/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667902E6-D981-462C-87A0-5146E9B0B6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8492" y="944165"/>
            <a:ext cx="6557764" cy="3715817"/>
          </a:xfrm>
        </p:spPr>
        <p:txBody>
          <a:bodyPr>
            <a:normAutofit lnSpcReduction="10000"/>
          </a:bodyPr>
          <a:lstStyle/>
          <a:p>
            <a:r>
              <a:rPr lang="ru-RU" alt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ена Приказом Минобрнауки России №715 от 15.06.2016 г.</a:t>
            </a:r>
          </a:p>
          <a:p>
            <a:r>
              <a:rPr lang="ru-RU" alt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ёт федеральную рамку развития Национальной сети школьных библиотек</a:t>
            </a:r>
          </a:p>
          <a:p>
            <a:r>
              <a:rPr lang="ru-RU" alt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яет образы будущего:</a:t>
            </a:r>
          </a:p>
          <a:p>
            <a:pPr lvl="1"/>
            <a:r>
              <a:rPr lang="ru-RU" alt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иональной школьной библиотечной сети</a:t>
            </a:r>
          </a:p>
          <a:p>
            <a:pPr lvl="1"/>
            <a:r>
              <a:rPr lang="ru-RU" alt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кольной библиотеки</a:t>
            </a:r>
          </a:p>
          <a:p>
            <a:pPr lvl="1"/>
            <a:r>
              <a:rPr lang="ru-RU" alt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дагога-библиотекаря</a:t>
            </a:r>
          </a:p>
          <a:p>
            <a:r>
              <a:rPr lang="ru-RU" alt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исывает:</a:t>
            </a:r>
          </a:p>
          <a:p>
            <a:pPr lvl="1"/>
            <a:r>
              <a:rPr lang="ru-RU" alt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ществующие барьеры и зоны развития</a:t>
            </a:r>
          </a:p>
          <a:p>
            <a:pPr lvl="1"/>
            <a:r>
              <a:rPr lang="ru-RU" alt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вые функции школьной библиотеки</a:t>
            </a:r>
          </a:p>
          <a:p>
            <a:pPr lvl="1"/>
            <a:r>
              <a:rPr lang="ru-RU" alt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видам обеспечения:</a:t>
            </a:r>
          </a:p>
          <a:p>
            <a:pPr lvl="2"/>
            <a:r>
              <a:rPr lang="ru-RU" alt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тивно-правовому, </a:t>
            </a:r>
          </a:p>
          <a:p>
            <a:pPr lvl="2"/>
            <a:r>
              <a:rPr lang="ru-RU" alt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дровому, </a:t>
            </a:r>
          </a:p>
          <a:p>
            <a:pPr lvl="2"/>
            <a:r>
              <a:rPr lang="ru-RU" alt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риально-техническому, </a:t>
            </a:r>
          </a:p>
          <a:p>
            <a:pPr lvl="2"/>
            <a:r>
              <a:rPr lang="ru-RU" alt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онно-ресурсному, </a:t>
            </a:r>
          </a:p>
          <a:p>
            <a:pPr lvl="2"/>
            <a:r>
              <a:rPr lang="ru-RU" alt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ному</a:t>
            </a:r>
          </a:p>
          <a:p>
            <a:pPr lvl="1"/>
            <a:r>
              <a:rPr lang="ru-RU" alt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измы реализации предлагаемых решений</a:t>
            </a:r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id="{CC493E8D-44C9-4E3C-8799-7C1B8F4BD7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1131590"/>
            <a:ext cx="2138363" cy="2783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4">
            <a:extLst>
              <a:ext uri="{FF2B5EF4-FFF2-40B4-BE49-F238E27FC236}">
                <a16:creationId xmlns:a16="http://schemas.microsoft.com/office/drawing/2014/main" id="{D43A2E16-9012-4BEB-9C97-6AF38F01EB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003" y="1995983"/>
            <a:ext cx="1918097" cy="2359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Заголовок 2">
            <a:extLst>
              <a:ext uri="{FF2B5EF4-FFF2-40B4-BE49-F238E27FC236}">
                <a16:creationId xmlns:a16="http://schemas.microsoft.com/office/drawing/2014/main" id="{936A899C-5131-4393-810D-DC5E894327A3}"/>
              </a:ext>
            </a:extLst>
          </p:cNvPr>
          <p:cNvSpPr txBox="1">
            <a:spLocks/>
          </p:cNvSpPr>
          <p:nvPr/>
        </p:nvSpPr>
        <p:spPr>
          <a:xfrm>
            <a:off x="107504" y="51470"/>
            <a:ext cx="8928992" cy="6480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Концепция развития школьных библиотек</a:t>
            </a:r>
          </a:p>
        </p:txBody>
      </p:sp>
    </p:spTree>
    <p:extLst>
      <p:ext uri="{BB962C8B-B14F-4D97-AF65-F5344CB8AC3E}">
        <p14:creationId xmlns:p14="http://schemas.microsoft.com/office/powerpoint/2010/main" val="70188377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5355B9F-47E8-4965-924A-5CE3E632D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4" y="51470"/>
            <a:ext cx="8928992" cy="648072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ru-RU" sz="2000" b="1" dirty="0">
                <a:solidFill>
                  <a:srgbClr val="0070C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Национальный проект «Образование». Цели проект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34</a:t>
            </a:fld>
            <a:endParaRPr lang="ru-RU"/>
          </a:p>
        </p:txBody>
      </p:sp>
      <p:graphicFrame>
        <p:nvGraphicFramePr>
          <p:cNvPr id="13" name="Объект 6">
            <a:extLst>
              <a:ext uri="{FF2B5EF4-FFF2-40B4-BE49-F238E27FC236}">
                <a16:creationId xmlns:a16="http://schemas.microsoft.com/office/drawing/2014/main" id="{B037CCF8-5395-4934-B1C0-B6DE8B3BAE65}"/>
              </a:ext>
            </a:extLst>
          </p:cNvPr>
          <p:cNvGraphicFramePr>
            <a:graphicFrameLocks/>
          </p:cNvGraphicFramePr>
          <p:nvPr/>
        </p:nvGraphicFramePr>
        <p:xfrm>
          <a:off x="659166" y="984437"/>
          <a:ext cx="7513517" cy="35673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056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078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81892">
                <a:tc>
                  <a:txBody>
                    <a:bodyPr/>
                    <a:lstStyle/>
                    <a:p>
                      <a:endParaRPr lang="ru-RU" sz="1400" dirty="0"/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хождение РФ в число 10 ведущих стран мира по качеству общего образования</a:t>
                      </a:r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T="45725" marB="457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33613">
                <a:tc>
                  <a:txBody>
                    <a:bodyPr/>
                    <a:lstStyle/>
                    <a:p>
                      <a:endParaRPr lang="ru-RU" sz="1800" dirty="0"/>
                    </a:p>
                    <a:p>
                      <a:endParaRPr lang="ru-RU" sz="18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algn="ctr"/>
                      <a:endParaRPr lang="ru-RU" sz="2000" b="1" dirty="0">
                        <a:solidFill>
                          <a:srgbClr val="0070C0"/>
                        </a:solidFill>
                      </a:endParaRPr>
                    </a:p>
                    <a:p>
                      <a:pPr algn="ctr"/>
                      <a:r>
                        <a:rPr lang="ru-RU" sz="1600" b="1" dirty="0">
                          <a:solidFill>
                            <a:srgbClr val="0070C0"/>
                          </a:solidFill>
                        </a:rPr>
                        <a:t>Воспитание гармонично развитой и социально ответственной личности</a:t>
                      </a:r>
                      <a:endParaRPr lang="ru-RU" sz="2400" b="1" dirty="0">
                        <a:solidFill>
                          <a:srgbClr val="0070C0"/>
                        </a:solidFill>
                      </a:endParaRPr>
                    </a:p>
                  </a:txBody>
                  <a:tcPr marT="45725" marB="457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4" name="Picture 3">
            <a:extLst>
              <a:ext uri="{FF2B5EF4-FFF2-40B4-BE49-F238E27FC236}">
                <a16:creationId xmlns:a16="http://schemas.microsoft.com/office/drawing/2014/main" id="{C1959DFA-6F69-4AD2-8F0D-98E4E51F0A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1059582"/>
            <a:ext cx="2199152" cy="1429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2CBD5520-5F7E-4506-BFBE-CE0358694A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3147814"/>
            <a:ext cx="2845478" cy="936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054441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07DB529-8C89-4EDF-AF8D-0A8B13DCB7D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35</a:t>
            </a:fld>
            <a:endParaRPr lang="ru-RU"/>
          </a:p>
        </p:txBody>
      </p:sp>
      <p:sp>
        <p:nvSpPr>
          <p:cNvPr id="7" name="Прямоугольник 1">
            <a:extLst>
              <a:ext uri="{FF2B5EF4-FFF2-40B4-BE49-F238E27FC236}">
                <a16:creationId xmlns:a16="http://schemas.microsoft.com/office/drawing/2014/main" id="{96F77796-4271-464E-A8C0-03012BE91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7092" y="2571750"/>
            <a:ext cx="7787703" cy="1785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indent="44926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Юрий Михайлович Лотман</a:t>
            </a:r>
          </a:p>
          <a:p>
            <a:pPr>
              <a:spcBef>
                <a:spcPct val="0"/>
              </a:spcBef>
              <a:buFontTx/>
              <a:buNone/>
            </a:pPr>
            <a:endParaRPr lang="ru-RU" altLang="ru-RU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Есть два главных условия развития образованного </a:t>
            </a:r>
            <a:br>
              <a:rPr lang="ru-RU" alt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порядочного человека: это иметь возможность разговаривать с умным человеком и читать умные книги». </a:t>
            </a:r>
          </a:p>
        </p:txBody>
      </p:sp>
      <p:pic>
        <p:nvPicPr>
          <p:cNvPr id="8" name="Рисунок 2">
            <a:extLst>
              <a:ext uri="{FF2B5EF4-FFF2-40B4-BE49-F238E27FC236}">
                <a16:creationId xmlns:a16="http://schemas.microsoft.com/office/drawing/2014/main" id="{3179BE1D-51CB-4494-9CE3-119693244E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389" y="195486"/>
            <a:ext cx="4251221" cy="2238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8324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370" name="Рисунок 1">
            <a:extLst>
              <a:ext uri="{FF2B5EF4-FFF2-40B4-BE49-F238E27FC236}">
                <a16:creationId xmlns:a16="http://schemas.microsoft.com/office/drawing/2014/main" id="{FDAF9EBD-82CB-42DE-A369-28D2537D1C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0585" y="0"/>
            <a:ext cx="3602831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dissolv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39625ED-6190-4772-BA51-17E6BE5761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37</a:t>
            </a:fld>
            <a:endParaRPr lang="ru-RU"/>
          </a:p>
        </p:txBody>
      </p:sp>
      <p:pic>
        <p:nvPicPr>
          <p:cNvPr id="9" name="Рисунок 1">
            <a:extLst>
              <a:ext uri="{FF2B5EF4-FFF2-40B4-BE49-F238E27FC236}">
                <a16:creationId xmlns:a16="http://schemas.microsoft.com/office/drawing/2014/main" id="{10D4B874-7121-4C06-B4FD-B5100CD97A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458177"/>
            <a:ext cx="5616624" cy="4227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4">
            <a:extLst>
              <a:ext uri="{FF2B5EF4-FFF2-40B4-BE49-F238E27FC236}">
                <a16:creationId xmlns:a16="http://schemas.microsoft.com/office/drawing/2014/main" id="{E99DAAC3-CD82-4A0A-AC41-C2D15D7CF2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1343358"/>
            <a:ext cx="504056" cy="318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741178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Прямоугольник 2">
            <a:extLst>
              <a:ext uri="{FF2B5EF4-FFF2-40B4-BE49-F238E27FC236}">
                <a16:creationId xmlns:a16="http://schemas.microsoft.com/office/drawing/2014/main" id="{F251715C-8D56-453F-B784-F2F62BFFD8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3000" y="3489723"/>
            <a:ext cx="6858000" cy="1685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2100" b="1" dirty="0">
                <a:solidFill>
                  <a:schemeClr val="bg1"/>
                </a:solidFill>
              </a:rPr>
              <a:t>«Всероссийский проект «Читающая школа» — защита права российских школьников </a:t>
            </a:r>
            <a:br>
              <a:rPr lang="ru-RU" sz="2100" b="1" dirty="0">
                <a:solidFill>
                  <a:schemeClr val="bg1"/>
                </a:solidFill>
              </a:rPr>
            </a:br>
            <a:r>
              <a:rPr lang="ru-RU" sz="2100" b="1" dirty="0">
                <a:solidFill>
                  <a:schemeClr val="bg1"/>
                </a:solidFill>
              </a:rPr>
              <a:t>на детскую книгу и чтение»</a:t>
            </a:r>
          </a:p>
          <a:p>
            <a:pPr algn="ctr" eaLnBrk="1" hangingPunct="1">
              <a:defRPr/>
            </a:pPr>
            <a:endParaRPr lang="ru-RU" sz="1050" b="1" dirty="0">
              <a:solidFill>
                <a:schemeClr val="bg1"/>
              </a:solidFill>
            </a:endParaRPr>
          </a:p>
          <a:p>
            <a:pPr algn="r" eaLnBrk="1" hangingPunct="1">
              <a:defRPr/>
            </a:pPr>
            <a:r>
              <a:rPr lang="ru-RU" sz="1500" b="1" dirty="0">
                <a:solidFill>
                  <a:schemeClr val="bg1"/>
                </a:solidFill>
              </a:rPr>
              <a:t>Жукова Татьяна Дмитриевна, </a:t>
            </a:r>
            <a:r>
              <a:rPr lang="ru-RU" sz="1500" b="1" dirty="0" err="1">
                <a:solidFill>
                  <a:schemeClr val="bg1"/>
                </a:solidFill>
              </a:rPr>
              <a:t>к.пед.н</a:t>
            </a:r>
            <a:r>
              <a:rPr lang="ru-RU" sz="1500" b="1" dirty="0">
                <a:solidFill>
                  <a:schemeClr val="bg1"/>
                </a:solidFill>
              </a:rPr>
              <a:t>.,</a:t>
            </a:r>
          </a:p>
          <a:p>
            <a:pPr algn="r" eaLnBrk="1" hangingPunct="1">
              <a:defRPr/>
            </a:pPr>
            <a:r>
              <a:rPr lang="ru-RU" sz="1500" b="1" dirty="0">
                <a:solidFill>
                  <a:schemeClr val="bg1"/>
                </a:solidFill>
              </a:rPr>
              <a:t>Президент РШБА, вице-президент НП «Лига образования» </a:t>
            </a:r>
          </a:p>
        </p:txBody>
      </p:sp>
      <p:pic>
        <p:nvPicPr>
          <p:cNvPr id="26627" name="Рисунок 1">
            <a:extLst>
              <a:ext uri="{FF2B5EF4-FFF2-40B4-BE49-F238E27FC236}">
                <a16:creationId xmlns:a16="http://schemas.microsoft.com/office/drawing/2014/main" id="{3311B461-89F9-4AF7-81AB-B1BCFE1CC2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148"/>
            <a:ext cx="9144000" cy="5079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 advClick="0" advTm="15000">
    <p:wheel spokes="8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39</a:t>
            </a:fld>
            <a:endParaRPr lang="ru-RU" dirty="0"/>
          </a:p>
        </p:txBody>
      </p:sp>
      <p:sp>
        <p:nvSpPr>
          <p:cNvPr id="18" name="Заголовок 2">
            <a:extLst>
              <a:ext uri="{FF2B5EF4-FFF2-40B4-BE49-F238E27FC236}">
                <a16:creationId xmlns:a16="http://schemas.microsoft.com/office/drawing/2014/main" id="{936A899C-5131-4393-810D-DC5E894327A3}"/>
              </a:ext>
            </a:extLst>
          </p:cNvPr>
          <p:cNvSpPr txBox="1">
            <a:spLocks/>
          </p:cNvSpPr>
          <p:nvPr/>
        </p:nvSpPr>
        <p:spPr>
          <a:xfrm>
            <a:off x="107504" y="19185"/>
            <a:ext cx="8928992" cy="6480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Чтение: ресурс развития</a:t>
            </a:r>
          </a:p>
        </p:txBody>
      </p:sp>
      <p:graphicFrame>
        <p:nvGraphicFramePr>
          <p:cNvPr id="7" name="Объект 6">
            <a:extLst>
              <a:ext uri="{FF2B5EF4-FFF2-40B4-BE49-F238E27FC236}">
                <a16:creationId xmlns:a16="http://schemas.microsoft.com/office/drawing/2014/main" id="{E43310B3-55D6-4B50-9997-5E76F6F720FD}"/>
              </a:ext>
            </a:extLst>
          </p:cNvPr>
          <p:cNvGraphicFramePr>
            <a:graphicFrameLocks/>
          </p:cNvGraphicFramePr>
          <p:nvPr/>
        </p:nvGraphicFramePr>
        <p:xfrm>
          <a:off x="659166" y="811382"/>
          <a:ext cx="7825668" cy="3787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128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28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68407">
                <a:tc>
                  <a:txBody>
                    <a:bodyPr/>
                    <a:lstStyle/>
                    <a:p>
                      <a:pPr algn="ctr"/>
                      <a:endParaRPr lang="ru-RU" sz="1800" b="1" dirty="0">
                        <a:solidFill>
                          <a:srgbClr val="0070C0"/>
                        </a:solidFill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огнитивных </a:t>
                      </a:r>
                      <a:br>
                        <a:rPr kumimoji="0" lang="ru-RU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ru-RU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пособностей </a:t>
                      </a:r>
                    </a:p>
                    <a:p>
                      <a:pPr algn="ctr"/>
                      <a:endParaRPr lang="ru-RU" sz="1800" b="1" dirty="0">
                        <a:solidFill>
                          <a:srgbClr val="0070C0"/>
                        </a:solidFill>
                      </a:endParaRPr>
                    </a:p>
                    <a:p>
                      <a:pPr algn="ctr"/>
                      <a:endParaRPr lang="ru-RU" sz="1800" b="1" dirty="0">
                        <a:solidFill>
                          <a:srgbClr val="0070C0"/>
                        </a:solidFill>
                      </a:endParaRPr>
                    </a:p>
                    <a:p>
                      <a:pPr algn="ctr"/>
                      <a:endParaRPr lang="ru-RU" sz="1800" b="1" dirty="0">
                        <a:solidFill>
                          <a:srgbClr val="0070C0"/>
                        </a:solidFill>
                      </a:endParaRPr>
                    </a:p>
                  </a:txBody>
                  <a:tcPr marT="45714" marB="45714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>
                        <a:solidFill>
                          <a:srgbClr val="0070C0"/>
                        </a:solidFill>
                      </a:endParaRPr>
                    </a:p>
                  </a:txBody>
                  <a:tcPr marT="45714" marB="45714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8372">
                <a:tc>
                  <a:txBody>
                    <a:bodyPr/>
                    <a:lstStyle/>
                    <a:p>
                      <a:pPr algn="ctr"/>
                      <a:endParaRPr lang="ru-RU" sz="1800" b="1" dirty="0">
                        <a:solidFill>
                          <a:srgbClr val="0070C0"/>
                        </a:solidFill>
                      </a:endParaRPr>
                    </a:p>
                  </a:txBody>
                  <a:tcPr marT="45714" marB="45714"/>
                </a:tc>
                <a:tc>
                  <a:txBody>
                    <a:bodyPr/>
                    <a:lstStyle/>
                    <a:p>
                      <a:pPr algn="ctr"/>
                      <a:endParaRPr lang="ru-RU" sz="2400" b="1" dirty="0">
                        <a:solidFill>
                          <a:srgbClr val="0070C0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>
                          <a:solidFill>
                            <a:srgbClr val="0070C0"/>
                          </a:solidFill>
                        </a:rPr>
                        <a:t>Эмоционального интеллекта</a:t>
                      </a:r>
                      <a:endParaRPr lang="ru-RU" sz="2400" b="1" dirty="0">
                        <a:solidFill>
                          <a:srgbClr val="0070C0"/>
                        </a:solidFill>
                      </a:endParaRPr>
                    </a:p>
                  </a:txBody>
                  <a:tcPr marT="45714" marB="45714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8" name="Picture 3">
            <a:extLst>
              <a:ext uri="{FF2B5EF4-FFF2-40B4-BE49-F238E27FC236}">
                <a16:creationId xmlns:a16="http://schemas.microsoft.com/office/drawing/2014/main" id="{B32158FF-9E1F-4341-9FE3-03BEF11729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1027812"/>
            <a:ext cx="3168834" cy="1438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D8D14DD4-2182-4479-8570-5D7CE1432E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2972028"/>
            <a:ext cx="3168834" cy="1436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55853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42" name="Рисунок 5">
            <a:extLst>
              <a:ext uri="{FF2B5EF4-FFF2-40B4-BE49-F238E27FC236}">
                <a16:creationId xmlns:a16="http://schemas.microsoft.com/office/drawing/2014/main" id="{99D36989-A0A6-4CCC-BD46-0E6E505295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8094" y="2557463"/>
            <a:ext cx="1176338" cy="1829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3" name="Рисунок 1">
            <a:extLst>
              <a:ext uri="{FF2B5EF4-FFF2-40B4-BE49-F238E27FC236}">
                <a16:creationId xmlns:a16="http://schemas.microsoft.com/office/drawing/2014/main" id="{862B9746-327B-4EA1-9ABF-D733BF8785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569" y="2549129"/>
            <a:ext cx="1346597" cy="1878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3" descr="http://gimnaziya8.eduru.ru/img/upload/13/image_image_50379.jpg">
            <a:extLst>
              <a:ext uri="{FF2B5EF4-FFF2-40B4-BE49-F238E27FC236}">
                <a16:creationId xmlns:a16="http://schemas.microsoft.com/office/drawing/2014/main" id="{6CC3566B-54EE-444A-B37A-F20030810243}"/>
              </a:ext>
            </a:extLst>
          </p:cNvPr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631451" y="108012"/>
            <a:ext cx="3915054" cy="2355726"/>
          </a:xfrm>
          <a:prstGeom prst="rect">
            <a:avLst/>
          </a:prstGeom>
          <a:noFill/>
          <a:ln>
            <a:noFill/>
          </a:ln>
          <a:effectLst>
            <a:softEdge rad="317500"/>
          </a:effectLst>
        </p:spPr>
      </p:pic>
      <p:pic>
        <p:nvPicPr>
          <p:cNvPr id="61445" name="Рисунок 2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EB9270B3-2DEF-4FE1-90E3-5C77247727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766" y="844154"/>
            <a:ext cx="809625" cy="1129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6" name="Рисунок 5" descr="Изображение выглядит как комната&#10;&#10;Автоматически созданное описание">
            <a:extLst>
              <a:ext uri="{FF2B5EF4-FFF2-40B4-BE49-F238E27FC236}">
                <a16:creationId xmlns:a16="http://schemas.microsoft.com/office/drawing/2014/main" id="{B96F2FB9-EA0F-4024-9A26-4BBA7B3C81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2331" y="852488"/>
            <a:ext cx="1129904" cy="1131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47" name="Прямоугольник 1">
            <a:extLst>
              <a:ext uri="{FF2B5EF4-FFF2-40B4-BE49-F238E27FC236}">
                <a16:creationId xmlns:a16="http://schemas.microsoft.com/office/drawing/2014/main" id="{A1A72155-BA62-4D74-B441-F573607AB3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147" y="4550569"/>
            <a:ext cx="8371284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350" b="1">
                <a:solidFill>
                  <a:schemeClr val="tx2"/>
                </a:solidFill>
                <a:latin typeface="Arial" panose="020B0604020202020204" pitchFamily="34" charset="0"/>
              </a:rPr>
              <a:t>Организаторы акции: </a:t>
            </a:r>
            <a:r>
              <a:rPr lang="ru-RU" altLang="ru-RU" sz="1350">
                <a:latin typeface="Arial" panose="020B0604020202020204" pitchFamily="34" charset="0"/>
              </a:rPr>
              <a:t>школьные библиотекари России (РШБА) при поддержке Общероссийской общественно-государственной организации «Союз женщин России» и компании «Директ-Медиа.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3F2E50C-53D6-409F-A2BF-599648295FA3}"/>
              </a:ext>
            </a:extLst>
          </p:cNvPr>
          <p:cNvSpPr/>
          <p:nvPr/>
        </p:nvSpPr>
        <p:spPr>
          <a:xfrm>
            <a:off x="0" y="3011092"/>
            <a:ext cx="9144000" cy="10156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3000" b="1" dirty="0">
                <a:solidFill>
                  <a:srgbClr val="FF0000"/>
                </a:solidFill>
                <a:latin typeface="+mj-lt"/>
              </a:rPr>
              <a:t>Всероссийская читательская акция </a:t>
            </a:r>
            <a:br>
              <a:rPr lang="ru-RU" sz="3000" b="1" dirty="0">
                <a:solidFill>
                  <a:srgbClr val="FF0000"/>
                </a:solidFill>
                <a:latin typeface="+mj-lt"/>
              </a:rPr>
            </a:br>
            <a:r>
              <a:rPr lang="ru-RU" sz="3000" b="1" dirty="0">
                <a:solidFill>
                  <a:srgbClr val="FF0000"/>
                </a:solidFill>
                <a:latin typeface="+mj-lt"/>
              </a:rPr>
              <a:t>«Обнимем ребенка с книгой!»</a:t>
            </a:r>
          </a:p>
        </p:txBody>
      </p:sp>
    </p:spTree>
  </p:cSld>
  <p:clrMapOvr>
    <a:masterClrMapping/>
  </p:clrMapOvr>
  <p:transition spd="med">
    <p:dissolv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02715" y="4764559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40</a:t>
            </a:fld>
            <a:endParaRPr lang="ru-RU" dirty="0"/>
          </a:p>
        </p:txBody>
      </p:sp>
      <p:sp>
        <p:nvSpPr>
          <p:cNvPr id="18" name="Заголовок 2">
            <a:extLst>
              <a:ext uri="{FF2B5EF4-FFF2-40B4-BE49-F238E27FC236}">
                <a16:creationId xmlns:a16="http://schemas.microsoft.com/office/drawing/2014/main" id="{936A899C-5131-4393-810D-DC5E894327A3}"/>
              </a:ext>
            </a:extLst>
          </p:cNvPr>
          <p:cNvSpPr txBox="1">
            <a:spLocks/>
          </p:cNvSpPr>
          <p:nvPr/>
        </p:nvSpPr>
        <p:spPr>
          <a:xfrm>
            <a:off x="899592" y="51470"/>
            <a:ext cx="8136904" cy="6480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«Компетенции будущего» для сложного общества</a:t>
            </a:r>
          </a:p>
        </p:txBody>
      </p:sp>
      <p:pic>
        <p:nvPicPr>
          <p:cNvPr id="7" name="Рисунок 13">
            <a:extLst>
              <a:ext uri="{FF2B5EF4-FFF2-40B4-BE49-F238E27FC236}">
                <a16:creationId xmlns:a16="http://schemas.microsoft.com/office/drawing/2014/main" id="{10701658-1252-4FC4-8B81-B515116AC2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02393"/>
            <a:ext cx="660415" cy="699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3">
            <a:extLst>
              <a:ext uri="{FF2B5EF4-FFF2-40B4-BE49-F238E27FC236}">
                <a16:creationId xmlns:a16="http://schemas.microsoft.com/office/drawing/2014/main" id="{E27E9F05-97F9-4EFD-9C4C-A6FD6B72C3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9122" y="965082"/>
            <a:ext cx="2059940" cy="2861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4">
            <a:extLst>
              <a:ext uri="{FF2B5EF4-FFF2-40B4-BE49-F238E27FC236}">
                <a16:creationId xmlns:a16="http://schemas.microsoft.com/office/drawing/2014/main" id="{D81829A2-EA24-4194-A530-9D57723E09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44" y="3836381"/>
            <a:ext cx="3452813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5">
            <a:extLst>
              <a:ext uri="{FF2B5EF4-FFF2-40B4-BE49-F238E27FC236}">
                <a16:creationId xmlns:a16="http://schemas.microsoft.com/office/drawing/2014/main" id="{53F78632-5ACB-4298-86AF-8EE9BAA406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44" y="4103013"/>
            <a:ext cx="2149475" cy="20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6">
            <a:extLst>
              <a:ext uri="{FF2B5EF4-FFF2-40B4-BE49-F238E27FC236}">
                <a16:creationId xmlns:a16="http://schemas.microsoft.com/office/drawing/2014/main" id="{6000D74C-3DDF-44F1-9AF5-BF610A97F5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44" y="4379992"/>
            <a:ext cx="2198688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0E8C0EA0-0345-4E2E-AD37-8EDDCD9F992F}"/>
              </a:ext>
            </a:extLst>
          </p:cNvPr>
          <p:cNvCxnSpPr>
            <a:cxnSpLocks/>
          </p:cNvCxnSpPr>
          <p:nvPr/>
        </p:nvCxnSpPr>
        <p:spPr>
          <a:xfrm>
            <a:off x="4846241" y="2208684"/>
            <a:ext cx="1533525" cy="39211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8234C4B-5719-4032-A133-F4FFF895B18E}"/>
              </a:ext>
            </a:extLst>
          </p:cNvPr>
          <p:cNvSpPr txBox="1"/>
          <p:nvPr/>
        </p:nvSpPr>
        <p:spPr>
          <a:xfrm>
            <a:off x="899592" y="894010"/>
            <a:ext cx="4299074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/>
              <a:t>Готовность к сложному обществу </a:t>
            </a:r>
            <a:br>
              <a:rPr lang="ru-RU" sz="1400" b="1" dirty="0"/>
            </a:br>
            <a:r>
              <a:rPr lang="ru-RU" sz="1400" b="1" dirty="0"/>
              <a:t>стратегической неопределенности</a:t>
            </a:r>
            <a:endParaRPr lang="en-US" sz="1400" b="1" dirty="0"/>
          </a:p>
          <a:p>
            <a:pPr marL="244345" indent="-244345"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Осознанность, управление вниманием</a:t>
            </a:r>
            <a:endParaRPr lang="en-US" sz="1400" dirty="0"/>
          </a:p>
          <a:p>
            <a:pPr marL="244345" indent="-244345"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Жизнестойкость (</a:t>
            </a:r>
            <a:r>
              <a:rPr lang="en-US" sz="1400" dirty="0"/>
              <a:t>resilience)</a:t>
            </a:r>
          </a:p>
          <a:p>
            <a:pPr marL="244345" indent="-244345"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Готовность действовать / решительность</a:t>
            </a:r>
            <a:endParaRPr lang="en-US" sz="1400" dirty="0"/>
          </a:p>
          <a:p>
            <a:pPr marL="244345" indent="-244345"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Открытость и ориентация на развитие</a:t>
            </a:r>
          </a:p>
          <a:p>
            <a:pPr marL="244345" indent="-244345"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Творческие способности</a:t>
            </a:r>
            <a:endParaRPr lang="en-US" sz="1400" dirty="0"/>
          </a:p>
          <a:p>
            <a:pPr marL="244345" indent="-244345"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Эмпатия</a:t>
            </a:r>
            <a:r>
              <a:rPr lang="en-US" sz="1400" dirty="0"/>
              <a:t> / </a:t>
            </a:r>
            <a:r>
              <a:rPr lang="ru-RU" sz="1400" dirty="0"/>
              <a:t>сострадание</a:t>
            </a:r>
            <a:endParaRPr lang="en-US" sz="1400" dirty="0"/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A1FA5069-BAE0-4061-9AC5-BC0644AC168A}"/>
              </a:ext>
            </a:extLst>
          </p:cNvPr>
          <p:cNvCxnSpPr>
            <a:cxnSpLocks/>
          </p:cNvCxnSpPr>
          <p:nvPr/>
        </p:nvCxnSpPr>
        <p:spPr>
          <a:xfrm flipV="1">
            <a:off x="3995341" y="3297709"/>
            <a:ext cx="2195512" cy="42227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B9D5686-3AF8-43F7-BEC8-956B90372B20}"/>
              </a:ext>
            </a:extLst>
          </p:cNvPr>
          <p:cNvSpPr txBox="1"/>
          <p:nvPr/>
        </p:nvSpPr>
        <p:spPr>
          <a:xfrm>
            <a:off x="899592" y="2724944"/>
            <a:ext cx="4192587" cy="138499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/>
              <a:t>«Новые грамотности»</a:t>
            </a:r>
            <a:endParaRPr lang="en-US" sz="1400" b="1" dirty="0"/>
          </a:p>
          <a:p>
            <a:pPr marL="244345" indent="-244345"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Цифровая грамотность / цифровая гигиена</a:t>
            </a:r>
            <a:endParaRPr lang="en-US" sz="1400" dirty="0"/>
          </a:p>
          <a:p>
            <a:pPr marL="244345" indent="-244345"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Экологическое мышление</a:t>
            </a:r>
            <a:endParaRPr lang="en-US" sz="1400" dirty="0"/>
          </a:p>
          <a:p>
            <a:pPr marL="244345" indent="-244345"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Способность к сотрудничеству и совместной работе</a:t>
            </a:r>
            <a:r>
              <a:rPr lang="en-US" sz="1400" dirty="0"/>
              <a:t> </a:t>
            </a:r>
          </a:p>
          <a:p>
            <a:pPr marL="244345" indent="-244345"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Кросс-культурная компетентность</a:t>
            </a:r>
          </a:p>
        </p:txBody>
      </p:sp>
      <p:sp>
        <p:nvSpPr>
          <p:cNvPr id="16" name="Подзаголовок 2">
            <a:extLst>
              <a:ext uri="{FF2B5EF4-FFF2-40B4-BE49-F238E27FC236}">
                <a16:creationId xmlns:a16="http://schemas.microsoft.com/office/drawing/2014/main" id="{04751B99-9E31-410F-BB63-043DCE9819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3688" y="4778775"/>
            <a:ext cx="1879600" cy="303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ru-RU" altLang="ru-RU" sz="800" dirty="0"/>
              <a:t>Источник: П.О. Лукша</a:t>
            </a:r>
          </a:p>
        </p:txBody>
      </p:sp>
    </p:spTree>
    <p:extLst>
      <p:ext uri="{BB962C8B-B14F-4D97-AF65-F5344CB8AC3E}">
        <p14:creationId xmlns:p14="http://schemas.microsoft.com/office/powerpoint/2010/main" val="28615589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02715" y="4764559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41</a:t>
            </a:fld>
            <a:endParaRPr lang="ru-RU" dirty="0"/>
          </a:p>
        </p:txBody>
      </p:sp>
      <p:sp>
        <p:nvSpPr>
          <p:cNvPr id="18" name="Заголовок 2">
            <a:extLst>
              <a:ext uri="{FF2B5EF4-FFF2-40B4-BE49-F238E27FC236}">
                <a16:creationId xmlns:a16="http://schemas.microsoft.com/office/drawing/2014/main" id="{936A899C-5131-4393-810D-DC5E894327A3}"/>
              </a:ext>
            </a:extLst>
          </p:cNvPr>
          <p:cNvSpPr txBox="1">
            <a:spLocks/>
          </p:cNvSpPr>
          <p:nvPr/>
        </p:nvSpPr>
        <p:spPr>
          <a:xfrm>
            <a:off x="899592" y="51470"/>
            <a:ext cx="8136904" cy="6480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Новая </a:t>
            </a:r>
            <a:r>
              <a:rPr lang="ru-RU" sz="2000" b="1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компетенционная</a:t>
            </a: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модель: центральными становятся личностные «экзистенциальные» компетенции</a:t>
            </a:r>
          </a:p>
        </p:txBody>
      </p:sp>
      <p:pic>
        <p:nvPicPr>
          <p:cNvPr id="7" name="Рисунок 13">
            <a:extLst>
              <a:ext uri="{FF2B5EF4-FFF2-40B4-BE49-F238E27FC236}">
                <a16:creationId xmlns:a16="http://schemas.microsoft.com/office/drawing/2014/main" id="{10701658-1252-4FC4-8B81-B515116AC2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02393"/>
            <a:ext cx="660415" cy="699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одзаголовок 2">
            <a:extLst>
              <a:ext uri="{FF2B5EF4-FFF2-40B4-BE49-F238E27FC236}">
                <a16:creationId xmlns:a16="http://schemas.microsoft.com/office/drawing/2014/main" id="{04751B99-9E31-410F-BB63-043DCE9819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3688" y="4778775"/>
            <a:ext cx="1879600" cy="303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ru-RU" altLang="ru-RU" sz="800" dirty="0"/>
              <a:t>Источник: П.О. Лукша</a:t>
            </a:r>
          </a:p>
        </p:txBody>
      </p:sp>
      <p:pic>
        <p:nvPicPr>
          <p:cNvPr id="17" name="Рисунок 4">
            <a:extLst>
              <a:ext uri="{FF2B5EF4-FFF2-40B4-BE49-F238E27FC236}">
                <a16:creationId xmlns:a16="http://schemas.microsoft.com/office/drawing/2014/main" id="{97C2074D-193A-4DB8-9017-E09CBAA47D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801935"/>
            <a:ext cx="7009750" cy="3860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15560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>
            <a:extLst>
              <a:ext uri="{FF2B5EF4-FFF2-40B4-BE49-F238E27FC236}">
                <a16:creationId xmlns:a16="http://schemas.microsoft.com/office/drawing/2014/main" id="{61C56074-8BD0-4F92-B157-5B56984B7A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512" y="734216"/>
            <a:ext cx="5126919" cy="3943349"/>
          </a:xfrm>
        </p:spPr>
        <p:txBody>
          <a:bodyPr>
            <a:normAutofit lnSpcReduction="10000"/>
          </a:bodyPr>
          <a:lstStyle/>
          <a:p>
            <a:pPr algn="ctr">
              <a:lnSpc>
                <a:spcPct val="120000"/>
              </a:lnSpc>
              <a:defRPr/>
            </a:pPr>
            <a:endParaRPr lang="en-US" altLang="ru-RU" sz="3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жнейший компонент экосистемы цифровой школы </a:t>
            </a:r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зг школы, зона опережающего развития</a:t>
            </a:r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дро школьной педагогики, </a:t>
            </a:r>
            <a:r>
              <a:rPr lang="ru-RU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предметный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абинет</a:t>
            </a:r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ru-RU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ыслотека</a:t>
            </a:r>
            <a:endParaRPr lang="ru-RU" alt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ый центр конструктивистского обучения</a:t>
            </a:r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месте с 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-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ужбами школы – генератор высокотехнологичной контентной среды, гипермаркет знаний</a:t>
            </a:r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Третье место», 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R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служба – управление человеческим капиталом, </a:t>
            </a:r>
            <a:r>
              <a:rPr lang="ru-RU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сборка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личности, творческая лаборатория учителей и учащихся</a:t>
            </a:r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странство формирования компетенций </a:t>
            </a:r>
            <a:r>
              <a:rPr lang="en-US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I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ека</a:t>
            </a:r>
          </a:p>
          <a:p>
            <a:pPr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Аптека для души», катализатор особого интеллектуального климата и культурной среды школы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5355B9F-47E8-4965-924A-5CE3E632D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4" y="51470"/>
            <a:ext cx="8928992" cy="648072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ru-RU" sz="1800" b="1" dirty="0">
                <a:solidFill>
                  <a:srgbClr val="0070C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Школьные библиотеки - точка трансформации российских школ </a:t>
            </a:r>
            <a:br>
              <a:rPr lang="ru-RU" sz="1800" b="1" dirty="0">
                <a:solidFill>
                  <a:srgbClr val="0070C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b="1" dirty="0">
                <a:solidFill>
                  <a:srgbClr val="0070C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 свое новое качество – цифровые школы: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42</a:t>
            </a:fld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412718D-D46C-49EB-87FC-39984837F8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3224" y="1015230"/>
            <a:ext cx="3860776" cy="31507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7D85580-37CD-4B04-AB02-E4959796E156}"/>
              </a:ext>
            </a:extLst>
          </p:cNvPr>
          <p:cNvSpPr/>
          <p:nvPr/>
        </p:nvSpPr>
        <p:spPr>
          <a:xfrm>
            <a:off x="1259632" y="4451922"/>
            <a:ext cx="7063782" cy="35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ru-RU" altLang="ru-RU" sz="1500" dirty="0">
                <a:latin typeface="Arial" panose="020B0604020202020204" pitchFamily="34" charset="0"/>
                <a:cs typeface="Arial" panose="020B0604020202020204" pitchFamily="34" charset="0"/>
              </a:rPr>
              <a:t>Цифровое чтение – нелинейное чтение – ключ к знаниям в цифровой школе.</a:t>
            </a:r>
          </a:p>
        </p:txBody>
      </p:sp>
    </p:spTree>
    <p:extLst>
      <p:ext uri="{BB962C8B-B14F-4D97-AF65-F5344CB8AC3E}">
        <p14:creationId xmlns:p14="http://schemas.microsoft.com/office/powerpoint/2010/main" val="235327069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43</a:t>
            </a:fld>
            <a:endParaRPr lang="ru-RU" dirty="0"/>
          </a:p>
        </p:txBody>
      </p:sp>
      <p:pic>
        <p:nvPicPr>
          <p:cNvPr id="8" name="Рисунок 1">
            <a:extLst>
              <a:ext uri="{FF2B5EF4-FFF2-40B4-BE49-F238E27FC236}">
                <a16:creationId xmlns:a16="http://schemas.microsoft.com/office/drawing/2014/main" id="{C35B4F63-9EBB-425A-8165-B9AA4D35AB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796" y="483518"/>
            <a:ext cx="6978408" cy="3960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841231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44</a:t>
            </a:fld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D5D1DB-D7CB-4637-A9AC-0A8B061D4C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672" y="0"/>
            <a:ext cx="654855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72508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45</a:t>
            </a:fld>
            <a:endParaRPr lang="ru-RU" dirty="0"/>
          </a:p>
        </p:txBody>
      </p:sp>
      <p:sp>
        <p:nvSpPr>
          <p:cNvPr id="18" name="Заголовок 2">
            <a:extLst>
              <a:ext uri="{FF2B5EF4-FFF2-40B4-BE49-F238E27FC236}">
                <a16:creationId xmlns:a16="http://schemas.microsoft.com/office/drawing/2014/main" id="{936A899C-5131-4393-810D-DC5E894327A3}"/>
              </a:ext>
            </a:extLst>
          </p:cNvPr>
          <p:cNvSpPr txBox="1">
            <a:spLocks/>
          </p:cNvSpPr>
          <p:nvPr/>
        </p:nvSpPr>
        <p:spPr>
          <a:xfrm>
            <a:off x="107504" y="19185"/>
            <a:ext cx="8928992" cy="161646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«Когнитивные аспекты в работе с информацией современного педагога - библиотекаря» </a:t>
            </a:r>
            <a:r>
              <a:rPr lang="ru-RU" sz="2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(г. Екатеринбург, апрель 2019 г.)</a:t>
            </a:r>
          </a:p>
          <a:p>
            <a:pPr algn="l">
              <a:lnSpc>
                <a:spcPct val="100000"/>
              </a:lnSpc>
            </a:pPr>
            <a:r>
              <a:rPr lang="ru-RU" sz="2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Дополнительная профессиональная программа </a:t>
            </a:r>
            <a:br>
              <a:rPr lang="ru-RU" sz="2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(повышения квалификации)</a:t>
            </a:r>
          </a:p>
          <a:p>
            <a:pPr algn="l">
              <a:lnSpc>
                <a:spcPct val="100000"/>
              </a:lnSpc>
            </a:pPr>
            <a:endParaRPr lang="ru-RU" sz="2000" b="1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1138882-712B-4E13-B96A-485CD55706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0044" y="1437513"/>
            <a:ext cx="4294444" cy="3220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10">
            <a:extLst>
              <a:ext uri="{FF2B5EF4-FFF2-40B4-BE49-F238E27FC236}">
                <a16:creationId xmlns:a16="http://schemas.microsoft.com/office/drawing/2014/main" id="{C6EB5D8B-4B0D-4F9A-9367-0A08ED0812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436443"/>
            <a:ext cx="4294443" cy="3221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90169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55AB31B-64E9-4469-B44F-784540E4E59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46</a:t>
            </a:fld>
            <a:endParaRPr lang="ru-RU"/>
          </a:p>
        </p:txBody>
      </p:sp>
      <p:grpSp>
        <p:nvGrpSpPr>
          <p:cNvPr id="4" name="Группа 4">
            <a:extLst>
              <a:ext uri="{FF2B5EF4-FFF2-40B4-BE49-F238E27FC236}">
                <a16:creationId xmlns:a16="http://schemas.microsoft.com/office/drawing/2014/main" id="{6811BFE2-8614-46FA-B555-9F9D98ABFD60}"/>
              </a:ext>
            </a:extLst>
          </p:cNvPr>
          <p:cNvGrpSpPr>
            <a:grpSpLocks/>
          </p:cNvGrpSpPr>
          <p:nvPr/>
        </p:nvGrpSpPr>
        <p:grpSpPr bwMode="auto">
          <a:xfrm>
            <a:off x="659166" y="871175"/>
            <a:ext cx="7946820" cy="3888433"/>
            <a:chOff x="251520" y="267494"/>
            <a:chExt cx="8748464" cy="4792027"/>
          </a:xfrm>
        </p:grpSpPr>
        <p:sp>
          <p:nvSpPr>
            <p:cNvPr id="7" name="Скругленный прямоугольник 5">
              <a:extLst>
                <a:ext uri="{FF2B5EF4-FFF2-40B4-BE49-F238E27FC236}">
                  <a16:creationId xmlns:a16="http://schemas.microsoft.com/office/drawing/2014/main" id="{E32A1F67-1898-4458-A1EC-F6F70F654DD5}"/>
                </a:ext>
              </a:extLst>
            </p:cNvPr>
            <p:cNvSpPr/>
            <p:nvPr/>
          </p:nvSpPr>
          <p:spPr>
            <a:xfrm>
              <a:off x="251520" y="267494"/>
              <a:ext cx="8569081" cy="4680446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dirty="0"/>
            </a:p>
          </p:txBody>
        </p:sp>
        <p:pic>
          <p:nvPicPr>
            <p:cNvPr id="8" name="Рисунок 6">
              <a:extLst>
                <a:ext uri="{FF2B5EF4-FFF2-40B4-BE49-F238E27FC236}">
                  <a16:creationId xmlns:a16="http://schemas.microsoft.com/office/drawing/2014/main" id="{8C888A4B-1B6F-46F2-9F39-DF2671A91A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1920" y="4070393"/>
              <a:ext cx="5148064" cy="989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Заголовок 3">
            <a:extLst>
              <a:ext uri="{FF2B5EF4-FFF2-40B4-BE49-F238E27FC236}">
                <a16:creationId xmlns:a16="http://schemas.microsoft.com/office/drawing/2014/main" id="{4B286B5D-6920-469B-BD31-B60E364B5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786" y="703294"/>
            <a:ext cx="8277200" cy="2291989"/>
          </a:xfrm>
        </p:spPr>
        <p:txBody>
          <a:bodyPr/>
          <a:lstStyle/>
          <a:p>
            <a:r>
              <a:rPr lang="ru-RU" altLang="ru-RU" sz="2800" dirty="0"/>
              <a:t>Работа пилотной площадки</a:t>
            </a:r>
            <a:br>
              <a:rPr lang="ru-RU" altLang="ru-RU" sz="3200" dirty="0"/>
            </a:br>
            <a:br>
              <a:rPr lang="ru-RU" altLang="ru-RU" sz="3200" dirty="0"/>
            </a:br>
            <a:r>
              <a:rPr lang="ru-RU" sz="3200" u="sng" dirty="0">
                <a:hlinkClick r:id="rId3"/>
              </a:rPr>
              <a:t>https://ur-l.ru/u11BA</a:t>
            </a:r>
            <a:r>
              <a:rPr lang="ru-RU" sz="3200" dirty="0"/>
              <a:t> </a:t>
            </a:r>
            <a:br>
              <a:rPr lang="ru-RU" sz="3200" dirty="0"/>
            </a:br>
            <a:endParaRPr lang="ru-RU" altLang="ru-RU" sz="32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7F4F53B-AF9C-42F0-9C8F-71ABE7053DF0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2571750"/>
            <a:ext cx="1619169" cy="1343568"/>
          </a:xfrm>
          <a:prstGeom prst="rect">
            <a:avLst/>
          </a:prstGeom>
        </p:spPr>
      </p:pic>
      <p:sp>
        <p:nvSpPr>
          <p:cNvPr id="12" name="Подзаголовок 2">
            <a:extLst>
              <a:ext uri="{FF2B5EF4-FFF2-40B4-BE49-F238E27FC236}">
                <a16:creationId xmlns:a16="http://schemas.microsoft.com/office/drawing/2014/main" id="{054A189C-6340-499E-8916-494E9E114DB9}"/>
              </a:ext>
            </a:extLst>
          </p:cNvPr>
          <p:cNvSpPr txBox="1">
            <a:spLocks/>
          </p:cNvSpPr>
          <p:nvPr/>
        </p:nvSpPr>
        <p:spPr bwMode="auto">
          <a:xfrm>
            <a:off x="2133926" y="4804798"/>
            <a:ext cx="6493685" cy="97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</a:pPr>
            <a:r>
              <a:rPr lang="ru-RU" altLang="ru-RU" sz="800" dirty="0"/>
              <a:t>Источник: </a:t>
            </a:r>
            <a:r>
              <a:rPr lang="ru-RU" altLang="ru-RU" sz="800" dirty="0" err="1"/>
              <a:t>Н.В.Еговкина</a:t>
            </a:r>
            <a:r>
              <a:rPr lang="ru-RU" altLang="ru-RU" sz="800" dirty="0"/>
              <a:t>, </a:t>
            </a:r>
            <a:r>
              <a:rPr lang="ru-RU" altLang="ru-RU" sz="800" dirty="0" err="1"/>
              <a:t>ст.методистМБУ</a:t>
            </a:r>
            <a:r>
              <a:rPr lang="ru-RU" altLang="ru-RU" sz="800" dirty="0"/>
              <a:t> «МЦРО Сарапульского района» УР</a:t>
            </a:r>
          </a:p>
        </p:txBody>
      </p:sp>
      <p:pic>
        <p:nvPicPr>
          <p:cNvPr id="3" name="Рисунок 2" descr="Изображение выглядит как текст,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13A4D01D-C666-4D1B-8B3D-38E9A85EEF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7109" y="2310084"/>
            <a:ext cx="1866900" cy="1866900"/>
          </a:xfrm>
          <a:prstGeom prst="rect">
            <a:avLst/>
          </a:prstGeom>
        </p:spPr>
      </p:pic>
      <p:pic>
        <p:nvPicPr>
          <p:cNvPr id="2" name="Picture 2" descr="Похожее изображение">
            <a:extLst>
              <a:ext uri="{FF2B5EF4-FFF2-40B4-BE49-F238E27FC236}">
                <a16:creationId xmlns:a16="http://schemas.microsoft.com/office/drawing/2014/main" id="{ED845C1F-116E-4E85-90EB-38E16C4ECD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33239"/>
            <a:ext cx="530306" cy="662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842433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47</a:t>
            </a:fld>
            <a:endParaRPr lang="ru-RU" dirty="0"/>
          </a:p>
        </p:txBody>
      </p:sp>
      <p:sp>
        <p:nvSpPr>
          <p:cNvPr id="8" name="Text Box 4">
            <a:extLst>
              <a:ext uri="{FF2B5EF4-FFF2-40B4-BE49-F238E27FC236}">
                <a16:creationId xmlns:a16="http://schemas.microsoft.com/office/drawing/2014/main" id="{E844826A-935E-42AF-9ECB-E099F74AA6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99376"/>
            <a:ext cx="861016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ru-RU" alt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Целостное мышление, или золотой ключик творчества</a:t>
            </a:r>
          </a:p>
        </p:txBody>
      </p:sp>
      <p:pic>
        <p:nvPicPr>
          <p:cNvPr id="9" name="Рисунок 8" descr="Безимени-1.png">
            <a:extLst>
              <a:ext uri="{FF2B5EF4-FFF2-40B4-BE49-F238E27FC236}">
                <a16:creationId xmlns:a16="http://schemas.microsoft.com/office/drawing/2014/main" id="{E5365DFE-71B5-4DC8-BF56-525EF4ECC9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004" y="1563638"/>
            <a:ext cx="2846288" cy="2662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FC42744A-AB57-42EB-8A9F-9E09A28863BD}"/>
              </a:ext>
            </a:extLst>
          </p:cNvPr>
          <p:cNvSpPr txBox="1">
            <a:spLocks/>
          </p:cNvSpPr>
          <p:nvPr/>
        </p:nvSpPr>
        <p:spPr>
          <a:xfrm>
            <a:off x="3671629" y="411510"/>
            <a:ext cx="5391756" cy="2839713"/>
          </a:xfrm>
          <a:prstGeom prst="rect">
            <a:avLst/>
          </a:prstGeom>
        </p:spPr>
        <p:txBody>
          <a:bodyPr/>
          <a:lstStyle>
            <a:lvl1pPr marL="285750" indent="-28575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altLang="ru-RU" sz="2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F368FCF-7B21-4E91-801C-9C91965117F2}"/>
              </a:ext>
            </a:extLst>
          </p:cNvPr>
          <p:cNvSpPr/>
          <p:nvPr/>
        </p:nvSpPr>
        <p:spPr>
          <a:xfrm>
            <a:off x="4113838" y="1203598"/>
            <a:ext cx="4572000" cy="3139321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altLang="ru-RU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alt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остное мышление позволяет воспринять и обработать на много порядков больше информации в единицу времени</a:t>
            </a:r>
            <a:r>
              <a:rPr lang="en-US" alt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i</a:t>
            </a:r>
            <a:r>
              <a:rPr lang="en-US" altLang="ru-RU" b="1" baseline="30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n-US" alt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 t)</a:t>
            </a:r>
            <a:r>
              <a:rPr lang="ru-RU" alt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чем при линейном мышлении</a:t>
            </a:r>
            <a:r>
              <a:rPr lang="en-US" alt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altLang="ru-RU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alt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 t)</a:t>
            </a:r>
            <a:r>
              <a:rPr lang="ru-RU" alt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altLang="ru-RU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alt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остное мышление обеспечивается </a:t>
            </a:r>
            <a:br>
              <a:rPr lang="ru-RU" alt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-8-ым контурами головного мозга человека.</a:t>
            </a:r>
          </a:p>
        </p:txBody>
      </p:sp>
    </p:spTree>
    <p:extLst>
      <p:ext uri="{BB962C8B-B14F-4D97-AF65-F5344CB8AC3E}">
        <p14:creationId xmlns:p14="http://schemas.microsoft.com/office/powerpoint/2010/main" val="75626255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46178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48</a:t>
            </a:fld>
            <a:endParaRPr lang="ru-RU" dirty="0"/>
          </a:p>
        </p:txBody>
      </p:sp>
      <p:sp>
        <p:nvSpPr>
          <p:cNvPr id="18" name="Заголовок 2">
            <a:extLst>
              <a:ext uri="{FF2B5EF4-FFF2-40B4-BE49-F238E27FC236}">
                <a16:creationId xmlns:a16="http://schemas.microsoft.com/office/drawing/2014/main" id="{936A899C-5131-4393-810D-DC5E894327A3}"/>
              </a:ext>
            </a:extLst>
          </p:cNvPr>
          <p:cNvSpPr txBox="1">
            <a:spLocks/>
          </p:cNvSpPr>
          <p:nvPr/>
        </p:nvSpPr>
        <p:spPr>
          <a:xfrm>
            <a:off x="107504" y="150962"/>
            <a:ext cx="8928992" cy="35912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Международный месячник школьных библиотек (ISLM) – 2020</a:t>
            </a:r>
            <a:endParaRPr lang="ru-RU" sz="20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55ACA60-563A-4C77-A33C-E251245A28C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392" y="510089"/>
            <a:ext cx="1321607" cy="1341582"/>
          </a:xfrm>
          <a:prstGeom prst="rect">
            <a:avLst/>
          </a:prstGeom>
        </p:spPr>
      </p:pic>
      <p:pic>
        <p:nvPicPr>
          <p:cNvPr id="10" name="Рисунок 2">
            <a:extLst>
              <a:ext uri="{FF2B5EF4-FFF2-40B4-BE49-F238E27FC236}">
                <a16:creationId xmlns:a16="http://schemas.microsoft.com/office/drawing/2014/main" id="{DCDCCCB0-E64D-41A3-AA0D-16CE5C7DFA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2392" y="3454699"/>
            <a:ext cx="1321607" cy="1003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B449BD4-BC1B-4392-93C4-1BBFCE1FC750}"/>
              </a:ext>
            </a:extLst>
          </p:cNvPr>
          <p:cNvSpPr/>
          <p:nvPr/>
        </p:nvSpPr>
        <p:spPr>
          <a:xfrm>
            <a:off x="131368" y="944618"/>
            <a:ext cx="753537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дной из важнейших инициатив в нашем международном сообществе стала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Декларация права на библиотеки»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объявленная Американской библиотечной ассоциацией. Эта декларация служит сегодня во многих странах мира сильным общественным заявлением о ценности библиотеки как института, который обогащает личность, укрепляет семью и защищает право человека на знания. </a:t>
            </a:r>
            <a:endParaRPr 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ша Ассоциация разработала свой проект –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кларация школьных библиотекарей России «Библиотеки меняют жизнь школы. Право российского школьника на библиотеку».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Мы собрали сотни тысяч подписей под этой Декларацией от родителей, учителей, руководителей образовательных организаций, представителей общественных организаций и др. </a:t>
            </a:r>
            <a:endParaRPr 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лагаем в рамках Месячника - 2020 продолжить эту акцию, как эффективный инструмент привлечения внимания к важнейшему институту детства – школьной библиотеке.</a:t>
            </a:r>
          </a:p>
        </p:txBody>
      </p:sp>
    </p:spTree>
    <p:extLst>
      <p:ext uri="{BB962C8B-B14F-4D97-AF65-F5344CB8AC3E}">
        <p14:creationId xmlns:p14="http://schemas.microsoft.com/office/powerpoint/2010/main" val="121229823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49</a:t>
            </a:fld>
            <a:endParaRPr lang="ru-RU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179D6685-EEAF-46FC-9006-1716AD000C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5251" y="1385290"/>
            <a:ext cx="1948597" cy="257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2">
            <a:extLst>
              <a:ext uri="{FF2B5EF4-FFF2-40B4-BE49-F238E27FC236}">
                <a16:creationId xmlns:a16="http://schemas.microsoft.com/office/drawing/2014/main" id="{61DBD273-B3BF-4E91-B231-5930EF335D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23965"/>
            <a:ext cx="914400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ларация школьных библиотекарей России: </a:t>
            </a:r>
            <a:br>
              <a:rPr lang="ru-RU" altLang="ru-RU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Библиотеки меняют жизнь школы. </a:t>
            </a:r>
            <a:br>
              <a:rPr lang="ru-RU" altLang="ru-RU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о российского школьника на библиотеку»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9F6FF248-5F3D-45D3-A348-B8DFC5D05F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1272" y="1349038"/>
            <a:ext cx="1948598" cy="275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EC148218-90F4-4FCE-A85E-70CC945FE7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1594700"/>
            <a:ext cx="1989340" cy="2718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">
            <a:extLst>
              <a:ext uri="{FF2B5EF4-FFF2-40B4-BE49-F238E27FC236}">
                <a16:creationId xmlns:a16="http://schemas.microsoft.com/office/drawing/2014/main" id="{C10736E8-A5BD-4D1D-A5F9-BEA8768590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5251" y="4283916"/>
            <a:ext cx="681825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600" dirty="0">
                <a:solidFill>
                  <a:srgbClr val="4C4C4C"/>
                </a:solidFill>
                <a:latin typeface="Times New Roman" panose="02020603050405020304" pitchFamily="18" charset="0"/>
              </a:rPr>
              <a:t>Подробнее: </a:t>
            </a:r>
            <a:r>
              <a:rPr lang="en-US" altLang="ru-RU" sz="1600" dirty="0">
                <a:solidFill>
                  <a:srgbClr val="004228"/>
                </a:solidFill>
                <a:latin typeface="Times New Roman" panose="02020603050405020304" pitchFamily="18" charset="0"/>
                <a:hlinkClick r:id="rId5"/>
              </a:rPr>
              <a:t>www.rusla.ru/rsba/association/projects/declaration-sl-rus.php</a:t>
            </a:r>
            <a:r>
              <a:rPr lang="en-US" altLang="ru-RU" sz="1600" dirty="0">
                <a:solidFill>
                  <a:srgbClr val="4C4C4C"/>
                </a:solidFill>
                <a:latin typeface="Times New Roman" panose="02020603050405020304" pitchFamily="18" charset="0"/>
              </a:rPr>
              <a:t>  </a:t>
            </a:r>
            <a:endParaRPr lang="ru-RU" altLang="ru-RU" sz="16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2258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466" name="Рисунок 1">
            <a:extLst>
              <a:ext uri="{FF2B5EF4-FFF2-40B4-BE49-F238E27FC236}">
                <a16:creationId xmlns:a16="http://schemas.microsoft.com/office/drawing/2014/main" id="{2E7FE9E9-09EA-42B8-B1BA-2BEF1445D1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13" y="1497807"/>
            <a:ext cx="2016919" cy="2817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F447FD5-8BF0-4C92-856D-578CAC321369}"/>
              </a:ext>
            </a:extLst>
          </p:cNvPr>
          <p:cNvSpPr/>
          <p:nvPr/>
        </p:nvSpPr>
        <p:spPr>
          <a:xfrm>
            <a:off x="0" y="86917"/>
            <a:ext cx="9144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3000" b="1" dirty="0">
                <a:solidFill>
                  <a:srgbClr val="FF0000"/>
                </a:solidFill>
                <a:latin typeface="+mj-lt"/>
              </a:rPr>
              <a:t>Всероссийская читательская акция </a:t>
            </a:r>
            <a:br>
              <a:rPr lang="ru-RU" sz="3000" b="1" dirty="0">
                <a:solidFill>
                  <a:srgbClr val="FF0000"/>
                </a:solidFill>
                <a:latin typeface="+mj-lt"/>
              </a:rPr>
            </a:br>
            <a:r>
              <a:rPr lang="ru-RU" sz="3000" b="1" dirty="0">
                <a:solidFill>
                  <a:srgbClr val="FF0000"/>
                </a:solidFill>
                <a:latin typeface="+mj-lt"/>
              </a:rPr>
              <a:t>«Обнимем ребенка с книгой!»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1778F53-FAB8-4725-9183-15771E2F4DE5}"/>
              </a:ext>
            </a:extLst>
          </p:cNvPr>
          <p:cNvSpPr/>
          <p:nvPr/>
        </p:nvSpPr>
        <p:spPr>
          <a:xfrm>
            <a:off x="2303860" y="1383507"/>
            <a:ext cx="6534150" cy="323165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endParaRPr lang="ru-RU" dirty="0">
              <a:latin typeface="+mj-lt"/>
            </a:endParaRPr>
          </a:p>
          <a:p>
            <a:pPr>
              <a:defRPr/>
            </a:pPr>
            <a:r>
              <a:rPr lang="ru-RU" b="1" dirty="0">
                <a:latin typeface="+mj-lt"/>
              </a:rPr>
              <a:t>Дорогие родители, мамы, папы, бабушки и дедушки, находящиеся сейчас на самоизоляции!</a:t>
            </a:r>
          </a:p>
          <a:p>
            <a:pPr>
              <a:defRPr/>
            </a:pPr>
            <a:endParaRPr lang="ru-RU" sz="600" b="1" dirty="0">
              <a:latin typeface="+mj-lt"/>
            </a:endParaRPr>
          </a:p>
          <a:p>
            <a:pPr>
              <a:defRPr/>
            </a:pPr>
            <a:r>
              <a:rPr lang="ru-RU" dirty="0">
                <a:latin typeface="+mj-lt"/>
              </a:rPr>
              <a:t>Сообщество школьных библиотекарей России обращается к вам с предложением: в период распространения коронавируса запустить свой, хороший «вирус» – добра, разума и любви в семьях – при помощи семейного чтения хороших книг. </a:t>
            </a:r>
          </a:p>
          <a:p>
            <a:pPr>
              <a:defRPr/>
            </a:pPr>
            <a:r>
              <a:rPr lang="ru-RU" dirty="0">
                <a:latin typeface="+mj-lt"/>
              </a:rPr>
              <a:t>Мы запускаем акцию «Обнимем ребенка с книгой!». Мы не можем обнимать друг друга на улицах, но в семье мы можем стать еще ближе друг к другу. </a:t>
            </a:r>
          </a:p>
        </p:txBody>
      </p:sp>
    </p:spTree>
  </p:cSld>
  <p:clrMapOvr>
    <a:masterClrMapping/>
  </p:clrMapOvr>
  <p:transition spd="slow" advClick="0" advTm="16218">
    <p:wheel/>
  </p:transition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3E278A2-D3E1-48C5-9ADA-D152401F5B2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50</a:t>
            </a:fld>
            <a:endParaRPr lang="ru-RU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FB3D6C9-45CF-4621-825A-77B4108A28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175" y="152617"/>
            <a:ext cx="2947439" cy="2211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74AC69D4-73F0-4A23-B6AB-E01ED11FB9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4906" y="152617"/>
            <a:ext cx="3127781" cy="2211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738752EC-55C3-47BD-B199-9662CA2934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889" y="2568933"/>
            <a:ext cx="2966010" cy="2080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id="{CA3D4AB1-2838-4627-B864-E6DB790A54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8461" y="2568933"/>
            <a:ext cx="3864226" cy="2135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BE215366-AF80-4A6A-B811-C5FEE37FC9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0968" y="684032"/>
            <a:ext cx="1128583" cy="1148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461600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51</a:t>
            </a:fld>
            <a:endParaRPr lang="ru-RU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A1B423BF-8AB9-4CF2-800E-F8D315DB9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578" y="-5656"/>
            <a:ext cx="5904843" cy="5149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087861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52</a:t>
            </a:fld>
            <a:endParaRPr lang="ru-RU"/>
          </a:p>
        </p:txBody>
      </p:sp>
      <p:sp>
        <p:nvSpPr>
          <p:cNvPr id="4" name="Прямоугольник 2">
            <a:extLst>
              <a:ext uri="{FF2B5EF4-FFF2-40B4-BE49-F238E27FC236}">
                <a16:creationId xmlns:a16="http://schemas.microsoft.com/office/drawing/2014/main" id="{4254F3FB-E7AB-4B41-9768-F2281669A2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-6350" y="188913"/>
            <a:ext cx="91440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2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кларация Всероссийского Движения «Читающие Мамы»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бнимем ребенка с книгой!»</a:t>
            </a:r>
            <a:endParaRPr lang="ru-RU" altLang="ru-RU" sz="20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3C36E60-117F-46B9-92D6-6C8E9EA4CCBA}"/>
              </a:ext>
            </a:extLst>
          </p:cNvPr>
          <p:cNvSpPr/>
          <p:nvPr/>
        </p:nvSpPr>
        <p:spPr>
          <a:xfrm>
            <a:off x="179512" y="1350943"/>
            <a:ext cx="7056189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lang="ru-RU" dirty="0">
                <a:latin typeface="Times New Roman" panose="02020603050405020304" pitchFamily="18" charset="0"/>
                <a:ea typeface="MS Mincho" panose="02020609040205080304" pitchFamily="49" charset="-128"/>
                <a:cs typeface="Symbol" panose="05050102010706020507" pitchFamily="18" charset="2"/>
              </a:rPr>
              <a:t>Я знаю, что никакие электронные игры, компьютер и телевизор не обнимут моего ребенка и не заменят ему радость общения с родным человеком, когда мы сядем рядышком, обнимемся с ним и будем читать книгу вместе;</a:t>
            </a:r>
            <a:r>
              <a:rPr lang="ru-RU" dirty="0">
                <a:latin typeface="Times New Roman" panose="02020603050405020304" pitchFamily="18" charset="0"/>
                <a:ea typeface="MS Mincho" panose="02020609040205080304" pitchFamily="49" charset="-128"/>
                <a:cs typeface="Cambria" panose="02040503050406030204" pitchFamily="18" charset="0"/>
              </a:rPr>
              <a:t> </a:t>
            </a:r>
            <a:endParaRPr lang="ru-RU" sz="1600" dirty="0">
              <a:latin typeface="Cambria" panose="02040503050406030204" pitchFamily="18" charset="0"/>
              <a:ea typeface="MS Mincho" panose="02020609040205080304" pitchFamily="49" charset="-128"/>
              <a:cs typeface="Cambria" panose="02040503050406030204" pitchFamily="18" charset="0"/>
            </a:endParaRPr>
          </a:p>
          <a:p>
            <a:pPr marL="34290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lang="ru-RU" dirty="0">
                <a:latin typeface="Times New Roman" panose="02020603050405020304" pitchFamily="18" charset="0"/>
                <a:ea typeface="MS Mincho" panose="02020609040205080304" pitchFamily="49" charset="-128"/>
                <a:cs typeface="Symbol" panose="05050102010706020507" pitchFamily="18" charset="2"/>
              </a:rPr>
              <a:t>Я всегда найду время, чтобы почитать своему малышу или малышке;</a:t>
            </a:r>
            <a:r>
              <a:rPr lang="ru-RU" dirty="0">
                <a:latin typeface="Times New Roman" panose="02020603050405020304" pitchFamily="18" charset="0"/>
                <a:ea typeface="MS Mincho" panose="02020609040205080304" pitchFamily="49" charset="-128"/>
                <a:cs typeface="Cambria" panose="02040503050406030204" pitchFamily="18" charset="0"/>
              </a:rPr>
              <a:t> </a:t>
            </a:r>
            <a:endParaRPr lang="ru-RU" sz="1600" dirty="0">
              <a:latin typeface="Cambria" panose="02040503050406030204" pitchFamily="18" charset="0"/>
              <a:ea typeface="MS Mincho" panose="02020609040205080304" pitchFamily="49" charset="-128"/>
              <a:cs typeface="Cambria" panose="02040503050406030204" pitchFamily="18" charset="0"/>
            </a:endParaRPr>
          </a:p>
          <a:p>
            <a:pPr marL="34290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lang="ru-RU" dirty="0">
                <a:latin typeface="Times New Roman" panose="02020603050405020304" pitchFamily="18" charset="0"/>
                <a:ea typeface="MS Mincho" panose="02020609040205080304" pitchFamily="49" charset="-128"/>
                <a:cs typeface="Symbol" panose="05050102010706020507" pitchFamily="18" charset="2"/>
              </a:rPr>
              <a:t>Я всегда найду для моего ребенка самые-самые лучшие книги, которые научат его доброте – к людям, зверям, птицам, растениям и всему живому на нашей планете;</a:t>
            </a:r>
            <a:r>
              <a:rPr lang="ru-RU" dirty="0">
                <a:latin typeface="Times New Roman" panose="02020603050405020304" pitchFamily="18" charset="0"/>
                <a:ea typeface="MS Mincho" panose="02020609040205080304" pitchFamily="49" charset="-128"/>
                <a:cs typeface="Cambria" panose="02040503050406030204" pitchFamily="18" charset="0"/>
              </a:rPr>
              <a:t> </a:t>
            </a:r>
            <a:endParaRPr lang="ru-RU" sz="1600" dirty="0">
              <a:latin typeface="Cambria" panose="02040503050406030204" pitchFamily="18" charset="0"/>
              <a:ea typeface="MS Mincho" panose="02020609040205080304" pitchFamily="49" charset="-128"/>
              <a:cs typeface="Cambria" panose="02040503050406030204" pitchFamily="18" charset="0"/>
            </a:endParaRPr>
          </a:p>
          <a:p>
            <a:pPr marL="342900" indent="-342900" algn="just"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r>
              <a:rPr lang="ru-RU" dirty="0">
                <a:latin typeface="Times New Roman" panose="02020603050405020304" pitchFamily="18" charset="0"/>
                <a:ea typeface="MS Mincho" panose="02020609040205080304" pitchFamily="49" charset="-128"/>
                <a:cs typeface="Symbol" panose="05050102010706020507" pitchFamily="18" charset="2"/>
              </a:rPr>
              <a:t>Я уверена, что многие книги станут друзьями моему ребенку и помогут ему вырасти хорошим человеком;</a:t>
            </a:r>
            <a:endParaRPr lang="ru-RU" sz="1600" dirty="0">
              <a:latin typeface="Cambria" panose="02040503050406030204" pitchFamily="18" charset="0"/>
              <a:ea typeface="MS Mincho" panose="02020609040205080304" pitchFamily="49" charset="-128"/>
              <a:cs typeface="Symbol" panose="05050102010706020507" pitchFamily="18" charset="2"/>
            </a:endParaRPr>
          </a:p>
          <a:p>
            <a:pPr algn="just">
              <a:spcAft>
                <a:spcPts val="0"/>
              </a:spcAft>
              <a:defRPr/>
            </a:pPr>
            <a:r>
              <a:rPr lang="ru-RU" dirty="0">
                <a:latin typeface="Times New Roman" panose="02020603050405020304" pitchFamily="18" charset="0"/>
                <a:ea typeface="MS Mincho" panose="02020609040205080304" pitchFamily="49" charset="-128"/>
                <a:cs typeface="Cambria" panose="02040503050406030204" pitchFamily="18" charset="0"/>
              </a:rPr>
              <a:t> </a:t>
            </a:r>
            <a:endParaRPr lang="ru-RU" sz="1600" dirty="0">
              <a:latin typeface="Cambria" panose="02040503050406030204" pitchFamily="18" charset="0"/>
              <a:ea typeface="MS Mincho" panose="02020609040205080304" pitchFamily="49" charset="-128"/>
              <a:cs typeface="Cambria" panose="02040503050406030204" pitchFamily="18" charset="0"/>
            </a:endParaRPr>
          </a:p>
        </p:txBody>
      </p:sp>
      <p:pic>
        <p:nvPicPr>
          <p:cNvPr id="8" name="Рисунок 1">
            <a:extLst>
              <a:ext uri="{FF2B5EF4-FFF2-40B4-BE49-F238E27FC236}">
                <a16:creationId xmlns:a16="http://schemas.microsoft.com/office/drawing/2014/main" id="{A7609B0B-17C5-4E12-BC65-12F4B36316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6188" y="1811337"/>
            <a:ext cx="1638300" cy="2287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690317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53</a:t>
            </a:fld>
            <a:endParaRPr lang="ru-RU"/>
          </a:p>
        </p:txBody>
      </p:sp>
      <p:sp>
        <p:nvSpPr>
          <p:cNvPr id="4" name="Прямоугольник 2">
            <a:extLst>
              <a:ext uri="{FF2B5EF4-FFF2-40B4-BE49-F238E27FC236}">
                <a16:creationId xmlns:a16="http://schemas.microsoft.com/office/drawing/2014/main" id="{4254F3FB-E7AB-4B41-9768-F2281669A2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-6350" y="188913"/>
            <a:ext cx="91440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2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кларация Всероссийского Движения «Читающие Мамы»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бнимем ребенка с книгой!»</a:t>
            </a:r>
            <a:endParaRPr lang="ru-RU" altLang="ru-RU" sz="20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3C36E60-117F-46B9-92D6-6C8E9EA4CCBA}"/>
              </a:ext>
            </a:extLst>
          </p:cNvPr>
          <p:cNvSpPr/>
          <p:nvPr/>
        </p:nvSpPr>
        <p:spPr>
          <a:xfrm>
            <a:off x="183450" y="1134888"/>
            <a:ext cx="8637022" cy="35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ru-RU" altLang="ru-RU" dirty="0">
                <a:latin typeface="Times New Roman" panose="02020603050405020304" pitchFamily="18" charset="0"/>
                <a:ea typeface="MS Mincho" panose="02020609040205080304" pitchFamily="49" charset="-128"/>
                <a:cs typeface="Symbol" panose="05050102010706020507" pitchFamily="18" charset="2"/>
              </a:rPr>
              <a:t>Когда мы будем читать, нам вместе будет весело или грустно, мы вместе будем волноваться или радоваться, потому что хорошие книги уносят нас в другие, новые миры, учат справедливости, сопереживанию, любви к Родине;</a:t>
            </a:r>
            <a:endParaRPr lang="ru-RU" altLang="ru-RU" sz="1600" dirty="0">
              <a:latin typeface="Cambria" panose="02040503050406030204" pitchFamily="18" charset="0"/>
              <a:ea typeface="MS Mincho" panose="02020609040205080304" pitchFamily="49" charset="-128"/>
              <a:cs typeface="Symbol" panose="05050102010706020507" pitchFamily="18" charset="2"/>
            </a:endParaRP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ru-RU" altLang="ru-RU" dirty="0">
                <a:latin typeface="Times New Roman" panose="02020603050405020304" pitchFamily="18" charset="0"/>
                <a:ea typeface="MS Mincho" panose="02020609040205080304" pitchFamily="49" charset="-128"/>
                <a:cs typeface="Symbol" panose="05050102010706020507" pitchFamily="18" charset="2"/>
              </a:rPr>
              <a:t>Я понимаю, что беседы, рисунки, игры, любое творчество, связанное с читаемой книгой, – всё это дарит радость мне и моему ребенку и обогащает наш мир;</a:t>
            </a: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ru-RU" altLang="ru-RU" dirty="0">
                <a:latin typeface="Times New Roman" panose="02020603050405020304" pitchFamily="18" charset="0"/>
                <a:ea typeface="MS Mincho" panose="02020609040205080304" pitchFamily="49" charset="-128"/>
                <a:cs typeface="Symbol" panose="05050102010706020507" pitchFamily="18" charset="2"/>
              </a:rPr>
              <a:t>Я знаю, что у меня всегда хватит любви и терпения, знания и умения выслушать, что мой ребенок думает о прочитанной книге и ее героях;</a:t>
            </a: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ru-RU" altLang="ru-RU" dirty="0">
                <a:latin typeface="Times New Roman" panose="02020603050405020304" pitchFamily="18" charset="0"/>
                <a:ea typeface="MS Mincho" panose="02020609040205080304" pitchFamily="49" charset="-128"/>
                <a:cs typeface="Symbol" panose="05050102010706020507" pitchFamily="18" charset="2"/>
              </a:rPr>
              <a:t>Я уверена, что и наш папа будет участвовать в семейном чтении и станет читающим папой, и это укрепит нашу семью;</a:t>
            </a: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ru-RU" altLang="ru-RU" b="1" dirty="0">
                <a:latin typeface="Times New Roman" panose="02020603050405020304" pitchFamily="18" charset="0"/>
                <a:ea typeface="MS Mincho" panose="02020609040205080304" pitchFamily="49" charset="-128"/>
                <a:cs typeface="Symbol" panose="05050102010706020507" pitchFamily="18" charset="2"/>
              </a:rPr>
              <a:t>Я знаю, что мой ребенок полюбит читать и станет замечательным читателем, добрым и умным человеком,                </a:t>
            </a:r>
            <a:br>
              <a:rPr lang="ru-RU" altLang="ru-RU" b="1" dirty="0">
                <a:latin typeface="Times New Roman" panose="02020603050405020304" pitchFamily="18" charset="0"/>
                <a:ea typeface="MS Mincho" panose="02020609040205080304" pitchFamily="49" charset="-128"/>
                <a:cs typeface="Symbol" panose="05050102010706020507" pitchFamily="18" charset="2"/>
              </a:rPr>
            </a:br>
            <a:r>
              <a:rPr lang="ru-RU" alt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MS Mincho" panose="02020609040205080304" pitchFamily="49" charset="-128"/>
                <a:cs typeface="Symbol" panose="05050102010706020507" pitchFamily="18" charset="2"/>
              </a:rPr>
              <a:t>Потому что я – Читающая Мама.</a:t>
            </a:r>
            <a:endParaRPr lang="ru-RU" altLang="ru-RU" b="1" dirty="0">
              <a:solidFill>
                <a:srgbClr val="FF0000"/>
              </a:solidFill>
              <a:latin typeface="Times New Roman" panose="02020603050405020304" pitchFamily="18" charset="0"/>
              <a:ea typeface="MS Mincho" panose="02020609040205080304" pitchFamily="49" charset="-128"/>
              <a:cs typeface="Symbol" panose="05050102010706020507" pitchFamily="18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96345098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Рисунок 3">
            <a:extLst>
              <a:ext uri="{FF2B5EF4-FFF2-40B4-BE49-F238E27FC236}">
                <a16:creationId xmlns:a16="http://schemas.microsoft.com/office/drawing/2014/main" id="{61B200BE-BEB3-4BE1-96B9-CE88B2EE14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273" y="0"/>
            <a:ext cx="7079456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dissolv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55</a:t>
            </a:fld>
            <a:endParaRPr lang="ru-RU" dirty="0"/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6C4EA973-AD09-44FB-82E4-0792DD332713}"/>
              </a:ext>
            </a:extLst>
          </p:cNvPr>
          <p:cNvSpPr txBox="1">
            <a:spLocks/>
          </p:cNvSpPr>
          <p:nvPr/>
        </p:nvSpPr>
        <p:spPr>
          <a:xfrm>
            <a:off x="107504" y="19185"/>
            <a:ext cx="8928992" cy="6480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Приглашаем к участию</a:t>
            </a:r>
          </a:p>
        </p:txBody>
      </p:sp>
      <p:graphicFrame>
        <p:nvGraphicFramePr>
          <p:cNvPr id="9" name="Объект 4">
            <a:extLst>
              <a:ext uri="{FF2B5EF4-FFF2-40B4-BE49-F238E27FC236}">
                <a16:creationId xmlns:a16="http://schemas.microsoft.com/office/drawing/2014/main" id="{7435917D-CED2-4147-BE72-2685878149B3}"/>
              </a:ext>
            </a:extLst>
          </p:cNvPr>
          <p:cNvGraphicFramePr>
            <a:graphicFrameLocks/>
          </p:cNvGraphicFramePr>
          <p:nvPr/>
        </p:nvGraphicFramePr>
        <p:xfrm>
          <a:off x="1481536" y="936926"/>
          <a:ext cx="6180927" cy="37230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9976661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56</a:t>
            </a:fld>
            <a:endParaRPr lang="ru-RU" dirty="0"/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7399CD54-53D3-4DC7-9319-972456BA810E}"/>
              </a:ext>
            </a:extLst>
          </p:cNvPr>
          <p:cNvSpPr txBox="1">
            <a:spLocks/>
          </p:cNvSpPr>
          <p:nvPr/>
        </p:nvSpPr>
        <p:spPr>
          <a:xfrm>
            <a:off x="107504" y="19185"/>
            <a:ext cx="8928992" cy="6480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1 этап. </a:t>
            </a:r>
            <a:b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Каждый учитель – учитель чтения</a:t>
            </a:r>
          </a:p>
        </p:txBody>
      </p:sp>
      <p:graphicFrame>
        <p:nvGraphicFramePr>
          <p:cNvPr id="7" name="Объект 6">
            <a:extLst>
              <a:ext uri="{FF2B5EF4-FFF2-40B4-BE49-F238E27FC236}">
                <a16:creationId xmlns:a16="http://schemas.microsoft.com/office/drawing/2014/main" id="{79A5D651-D3A2-4ED1-BB50-3BB1B728F775}"/>
              </a:ext>
            </a:extLst>
          </p:cNvPr>
          <p:cNvGraphicFramePr>
            <a:graphicFrameLocks/>
          </p:cNvGraphicFramePr>
          <p:nvPr/>
        </p:nvGraphicFramePr>
        <p:xfrm>
          <a:off x="1007604" y="667257"/>
          <a:ext cx="7128792" cy="41331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643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643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14402">
                <a:tc>
                  <a:txBody>
                    <a:bodyPr/>
                    <a:lstStyle/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истанционный формат// Очное обучения </a:t>
                      </a:r>
                      <a:r>
                        <a:rPr kumimoji="0" lang="ru-RU" sz="16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  <a:p>
                      <a:endParaRPr lang="ru-RU" sz="14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Темы курса: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.Педагогика чтения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. Стратегии читательской деятельности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. Школьная библиотека – сердце школы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. Психология и физиология чтения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. Оценка качества чтения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. Читающий взрослый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. Круг детского чтения</a:t>
                      </a:r>
                    </a:p>
                    <a:p>
                      <a:endParaRPr lang="ru-RU" sz="1400" dirty="0"/>
                    </a:p>
                  </a:txBody>
                  <a:tcPr marT="45726" marB="45726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0054">
                <a:tc>
                  <a:txBody>
                    <a:bodyPr/>
                    <a:lstStyle/>
                    <a:p>
                      <a:endParaRPr lang="ru-RU" sz="140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T="45726" marB="45726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8" name="Picture 2">
            <a:extLst>
              <a:ext uri="{FF2B5EF4-FFF2-40B4-BE49-F238E27FC236}">
                <a16:creationId xmlns:a16="http://schemas.microsoft.com/office/drawing/2014/main" id="{63ACEF5E-3A21-4D60-800E-777E91BCBF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843558"/>
            <a:ext cx="2056624" cy="2911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2663197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57</a:t>
            </a:fld>
            <a:endParaRPr lang="ru-RU" dirty="0"/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7399CD54-53D3-4DC7-9319-972456BA810E}"/>
              </a:ext>
            </a:extLst>
          </p:cNvPr>
          <p:cNvSpPr txBox="1">
            <a:spLocks/>
          </p:cNvSpPr>
          <p:nvPr/>
        </p:nvSpPr>
        <p:spPr>
          <a:xfrm>
            <a:off x="107504" y="19185"/>
            <a:ext cx="8928992" cy="6480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2 этап. </a:t>
            </a:r>
          </a:p>
          <a:p>
            <a:pPr algn="l"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Подготовка и реализация  собственного проекта</a:t>
            </a:r>
          </a:p>
        </p:txBody>
      </p:sp>
      <p:graphicFrame>
        <p:nvGraphicFramePr>
          <p:cNvPr id="9" name="Объект 6">
            <a:extLst>
              <a:ext uri="{FF2B5EF4-FFF2-40B4-BE49-F238E27FC236}">
                <a16:creationId xmlns:a16="http://schemas.microsoft.com/office/drawing/2014/main" id="{3C32FC4E-EFA4-4BC4-967B-A85D61003C97}"/>
              </a:ext>
            </a:extLst>
          </p:cNvPr>
          <p:cNvGraphicFramePr>
            <a:graphicFrameLocks/>
          </p:cNvGraphicFramePr>
          <p:nvPr/>
        </p:nvGraphicFramePr>
        <p:xfrm>
          <a:off x="1331640" y="869161"/>
          <a:ext cx="6505312" cy="3790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526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526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86029">
                <a:tc>
                  <a:txBody>
                    <a:bodyPr/>
                    <a:lstStyle/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endParaRPr lang="ru-RU" sz="1400" dirty="0"/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правления деятельности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endParaRPr kumimoji="0" lang="ru-RU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роки 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неурочная деятельность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бразовательная среда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Родители</a:t>
                      </a:r>
                    </a:p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дготовка школьных команд</a:t>
                      </a:r>
                      <a:endParaRPr lang="ru-RU" sz="1400" dirty="0"/>
                    </a:p>
                  </a:txBody>
                  <a:tcPr marT="45716" marB="45716"/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T="45716" marB="45716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8387">
                <a:tc>
                  <a:txBody>
                    <a:bodyPr/>
                    <a:lstStyle/>
                    <a:p>
                      <a:endParaRPr lang="ru-RU" sz="1400"/>
                    </a:p>
                  </a:txBody>
                  <a:tcPr marT="45716" marB="45716"/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T="45716" marB="45716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" name="Picture 2">
            <a:extLst>
              <a:ext uri="{FF2B5EF4-FFF2-40B4-BE49-F238E27FC236}">
                <a16:creationId xmlns:a16="http://schemas.microsoft.com/office/drawing/2014/main" id="{E519083D-2306-436E-A557-36BC6E1F9D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1805265"/>
            <a:ext cx="2806020" cy="1872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3268315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58</a:t>
            </a:fld>
            <a:endParaRPr lang="ru-RU" dirty="0"/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7399CD54-53D3-4DC7-9319-972456BA810E}"/>
              </a:ext>
            </a:extLst>
          </p:cNvPr>
          <p:cNvSpPr txBox="1">
            <a:spLocks/>
          </p:cNvSpPr>
          <p:nvPr/>
        </p:nvSpPr>
        <p:spPr>
          <a:xfrm>
            <a:off x="107504" y="19185"/>
            <a:ext cx="8928992" cy="6480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3 этап. Участие в конкурсе-фестивале </a:t>
            </a:r>
            <a:b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«5 шагов к читающей школе»</a:t>
            </a:r>
          </a:p>
        </p:txBody>
      </p:sp>
      <p:graphicFrame>
        <p:nvGraphicFramePr>
          <p:cNvPr id="9" name="Объект 6">
            <a:extLst>
              <a:ext uri="{FF2B5EF4-FFF2-40B4-BE49-F238E27FC236}">
                <a16:creationId xmlns:a16="http://schemas.microsoft.com/office/drawing/2014/main" id="{CF557405-C292-4BE0-8DED-58C0F66AC6A3}"/>
              </a:ext>
            </a:extLst>
          </p:cNvPr>
          <p:cNvGraphicFramePr>
            <a:graphicFrameLocks/>
          </p:cNvGraphicFramePr>
          <p:nvPr/>
        </p:nvGraphicFramePr>
        <p:xfrm>
          <a:off x="1404648" y="969297"/>
          <a:ext cx="6264696" cy="33660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323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323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00327">
                <a:tc>
                  <a:txBody>
                    <a:bodyPr/>
                    <a:lstStyle/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  <a:p>
                      <a:endParaRPr lang="ru-RU" sz="1800" dirty="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T="45726" marB="45726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0033"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T="45726" marB="45726"/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T="45726" marB="45726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" name="Picture 2">
            <a:extLst>
              <a:ext uri="{FF2B5EF4-FFF2-40B4-BE49-F238E27FC236}">
                <a16:creationId xmlns:a16="http://schemas.microsoft.com/office/drawing/2014/main" id="{B33DF599-3A7E-459E-81F1-8DCB04DB86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1203598"/>
            <a:ext cx="3674407" cy="25612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2868030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971B79-8CD0-4029-993B-DA2C6F9B4E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59</a:t>
            </a:fld>
            <a:endParaRPr lang="ru-RU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B490A58-6851-4713-96B5-3D7243B8AF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0219" y="0"/>
            <a:ext cx="466356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1458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F447FD5-8BF0-4C92-856D-578CAC321369}"/>
              </a:ext>
            </a:extLst>
          </p:cNvPr>
          <p:cNvSpPr/>
          <p:nvPr/>
        </p:nvSpPr>
        <p:spPr>
          <a:xfrm>
            <a:off x="0" y="86917"/>
            <a:ext cx="9144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3000" b="1" dirty="0">
                <a:solidFill>
                  <a:srgbClr val="FF0000"/>
                </a:solidFill>
                <a:latin typeface="+mj-lt"/>
              </a:rPr>
              <a:t>Итоги всероссийской читательской акции </a:t>
            </a:r>
            <a:br>
              <a:rPr lang="ru-RU" sz="3000" b="1" dirty="0">
                <a:solidFill>
                  <a:srgbClr val="FF0000"/>
                </a:solidFill>
                <a:latin typeface="+mj-lt"/>
              </a:rPr>
            </a:br>
            <a:r>
              <a:rPr lang="ru-RU" sz="3000" b="1" dirty="0">
                <a:solidFill>
                  <a:srgbClr val="FF0000"/>
                </a:solidFill>
                <a:latin typeface="+mj-lt"/>
              </a:rPr>
              <a:t>«Обнимем ребенка с книгой!»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7F6F30-2A82-43D3-81E2-436605CCE87B}"/>
              </a:ext>
            </a:extLst>
          </p:cNvPr>
          <p:cNvSpPr txBox="1"/>
          <p:nvPr/>
        </p:nvSpPr>
        <p:spPr>
          <a:xfrm>
            <a:off x="467544" y="1087560"/>
            <a:ext cx="8496944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В адрес организаторов пришло более 500 видеороликов и фото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В акции приняли участие: семьи (мамы и папы, дедушки и бабушки, сестры и братья); образовательные организации Российской Федерации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ru-RU" sz="16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Мы благодарим всех за активность и творческие идеи!</a:t>
            </a:r>
          </a:p>
          <a:p>
            <a:pPr algn="l"/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ru-RU" sz="16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Мы рады высокой оценке участников акции, которые отметили, что семейное чтение в период пандемии стало для них доброй традицией. Вы, дорогие друзья и коллеги, убедили нас в том, что читательская акция – хороший повод поговорить с детьми о самом главном: доброте и сострадании, взаимопомощи, верности, чести, достоинстве, ответственности. уважительном отношении друг к другу, любви не только к родным и близким, но и к своей малой родине, к «братьям нашим меньшим». На такие содержательные беседы у взрослых часто не хватает времени, но при совместном чтении и обсуждении хорошей книги доверительное общение между поколениями, а значит и воспитание без назиданий и нравоучений, происходит само собой, приносит радость.</a:t>
            </a:r>
          </a:p>
        </p:txBody>
      </p:sp>
    </p:spTree>
    <p:extLst>
      <p:ext uri="{BB962C8B-B14F-4D97-AF65-F5344CB8AC3E}">
        <p14:creationId xmlns:p14="http://schemas.microsoft.com/office/powerpoint/2010/main" val="3164766484"/>
      </p:ext>
    </p:extLst>
  </p:cSld>
  <p:clrMapOvr>
    <a:masterClrMapping/>
  </p:clrMapOvr>
  <p:transition spd="slow" advClick="0" advTm="16218">
    <p:wheel/>
  </p:transition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60</a:t>
            </a:fld>
            <a:endParaRPr lang="ru-RU" dirty="0"/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7399CD54-53D3-4DC7-9319-972456BA810E}"/>
              </a:ext>
            </a:extLst>
          </p:cNvPr>
          <p:cNvSpPr txBox="1">
            <a:spLocks/>
          </p:cNvSpPr>
          <p:nvPr/>
        </p:nvSpPr>
        <p:spPr>
          <a:xfrm>
            <a:off x="107504" y="19185"/>
            <a:ext cx="8928992" cy="6480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Подать заявку</a:t>
            </a:r>
          </a:p>
        </p:txBody>
      </p:sp>
      <p:graphicFrame>
        <p:nvGraphicFramePr>
          <p:cNvPr id="7" name="Объект 3">
            <a:extLst>
              <a:ext uri="{FF2B5EF4-FFF2-40B4-BE49-F238E27FC236}">
                <a16:creationId xmlns:a16="http://schemas.microsoft.com/office/drawing/2014/main" id="{721D337B-F5A3-4C97-8D2A-1A015D9FA62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735796" y="771550"/>
          <a:ext cx="3672408" cy="53035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724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39230">
                <a:tc>
                  <a:txBody>
                    <a:bodyPr/>
                    <a:lstStyle/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  <a:p>
                      <a:endParaRPr lang="ru-RU" sz="1800" dirty="0"/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2">
            <a:extLst>
              <a:ext uri="{FF2B5EF4-FFF2-40B4-BE49-F238E27FC236}">
                <a16:creationId xmlns:a16="http://schemas.microsoft.com/office/drawing/2014/main" id="{1A54DBAB-7ABE-4073-BF60-5F44E0370D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3015" y="1185992"/>
            <a:ext cx="2914733" cy="2914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15703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61</a:t>
            </a:fld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3F5B221-C9A9-42C1-8396-6A3F121508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275" y="0"/>
            <a:ext cx="699344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45144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62</a:t>
            </a:fld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2015B37-ADD0-4900-BD5B-7A840E322E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6059" y="0"/>
            <a:ext cx="735188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36642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EE31207-BFB4-4F78-BAF1-665843DADA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Слайд think-cell" r:id="rId6" imgW="425" imgH="424" progId="TCLayout.ActiveDocument.1">
                  <p:embed/>
                </p:oleObj>
              </mc:Choice>
              <mc:Fallback>
                <p:oleObj name="Слайд think-cell" r:id="rId6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EE31207-BFB4-4F78-BAF1-665843DAD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7CE42C53-920E-4CFD-9894-B08AE32CC4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700" b="1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72AD47-F7F9-4364-BC14-E58AE819B5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957" y="622046"/>
            <a:ext cx="8850086" cy="1371145"/>
          </a:xfrm>
        </p:spPr>
        <p:txBody>
          <a:bodyPr anchor="t" anchorCtr="0"/>
          <a:lstStyle/>
          <a:p>
            <a:pPr>
              <a:lnSpc>
                <a:spcPct val="100000"/>
              </a:lnSpc>
            </a:pPr>
            <a:r>
              <a:rPr lang="ru-RU" sz="2400" dirty="0"/>
              <a:t>Паспорт проекта</a:t>
            </a:r>
            <a:br>
              <a:rPr lang="ru-RU" sz="2400" dirty="0"/>
            </a:br>
            <a:br>
              <a:rPr lang="ru-RU" sz="2400" dirty="0"/>
            </a:br>
            <a:r>
              <a:rPr lang="ru-RU" sz="2400" dirty="0"/>
              <a:t>«Читающая школа – читающая мама – читающая страна»</a:t>
            </a:r>
            <a:br>
              <a:rPr lang="ru-RU" sz="2400" dirty="0"/>
            </a:br>
            <a:endParaRPr lang="ru-RU" sz="2400" dirty="0">
              <a:sym typeface="Trebuchet MS" panose="020B0603020202020204" pitchFamily="34" charset="0"/>
            </a:endParaRPr>
          </a:p>
        </p:txBody>
      </p:sp>
      <p:pic>
        <p:nvPicPr>
          <p:cNvPr id="8" name="Рисунок 7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B7159D41-CB3C-4B1A-83F5-2FE7AE884B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62703" y="45720"/>
            <a:ext cx="510841" cy="712737"/>
          </a:xfrm>
          <a:prstGeom prst="rect">
            <a:avLst/>
          </a:prstGeom>
        </p:spPr>
      </p:pic>
      <p:pic>
        <p:nvPicPr>
          <p:cNvPr id="12" name="Рисунок 11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5319DDF1-4A77-45D7-BA3C-8DFC7EFB869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41372" y="2256019"/>
            <a:ext cx="1848395" cy="2579627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1EF2D8AC-9610-4416-87A7-083E1472DE8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89766" y="2263158"/>
            <a:ext cx="2148840" cy="2571732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0DEC3FC-D0BD-4703-90F0-C15F6999FFD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8079" y="2569516"/>
            <a:ext cx="3654519" cy="2164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25185"/>
      </p:ext>
    </p:extLst>
  </p:cSld>
  <p:clrMapOvr>
    <a:masterClrMapping/>
  </p:clrMapOvr>
  <p:transition spd="slow">
    <p:wipe dir="r"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25255" y="858436"/>
            <a:ext cx="8439104" cy="124649"/>
          </a:xfrm>
        </p:spPr>
        <p:txBody>
          <a:bodyPr/>
          <a:lstStyle/>
          <a:p>
            <a:r>
              <a:rPr lang="ru-RU" sz="900" dirty="0"/>
              <a:t>Какую актуальную проблему адресует проект ? Каков масштаб проблемы? Приведите ключевые данные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282" y="1171575"/>
            <a:ext cx="7119851" cy="3051572"/>
          </a:xfrm>
        </p:spPr>
        <p:txBody>
          <a:bodyPr>
            <a:normAutofit fontScale="92500" lnSpcReduction="20000"/>
          </a:bodyPr>
          <a:lstStyle/>
          <a:p>
            <a:pPr marL="0" indent="0" algn="just">
              <a:buNone/>
            </a:pPr>
            <a:r>
              <a:rPr lang="ru-RU" sz="1650" dirty="0"/>
              <a:t>По оценке ФГБУ «Федеральный институт оценки качества образования», экспертов по чтению, педагогов, в настоящее время снижается уровень функциональной грамотности детей и подростков, что подтверждается объективными данными международных исследований PISA.</a:t>
            </a:r>
          </a:p>
          <a:p>
            <a:pPr marL="0" indent="0" algn="just">
              <a:buNone/>
            </a:pPr>
            <a:r>
              <a:rPr lang="ru-RU" sz="1650" dirty="0"/>
              <a:t>В исследовании PISA-2018 Россия заняла 31-е место по читательской грамотности. Позиции Российской Федерации снизились на 5 пунктов по сравнению с предыдущим исследованием в 2015 году.</a:t>
            </a:r>
          </a:p>
          <a:p>
            <a:pPr marL="0" indent="0" algn="just">
              <a:buNone/>
            </a:pPr>
            <a:r>
              <a:rPr lang="ru-RU" sz="1650" dirty="0"/>
              <a:t>Снижение уровня функциональной грамотности ставит под сомнение выполнение национального проекта «Образование», задачи вывести Россию в число 10 ведущих стран мира по качеству общего образования, сформулированной в Указе президента РФ В.В.</a:t>
            </a:r>
            <a:r>
              <a:rPr lang="en-US" sz="1650" dirty="0"/>
              <a:t> </a:t>
            </a:r>
            <a:r>
              <a:rPr lang="ru-RU" sz="1650" dirty="0"/>
              <a:t>Путина «О национальных целях и стратегических задачах развития Российской Федерации на период до 2024 года» и достойного места в рейтинге по итогам международного исследования PISA.</a:t>
            </a:r>
          </a:p>
          <a:p>
            <a:pPr marL="0" indent="0" algn="just">
              <a:buNone/>
            </a:pPr>
            <a:endParaRPr lang="ru-RU" sz="1650" strike="sngStrike" dirty="0"/>
          </a:p>
          <a:p>
            <a:pPr marL="0" indent="0" algn="just">
              <a:buNone/>
            </a:pPr>
            <a:endParaRPr lang="ru-RU" sz="1650" strike="sngStrike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281" y="320653"/>
            <a:ext cx="8439104" cy="415498"/>
          </a:xfrm>
        </p:spPr>
        <p:txBody>
          <a:bodyPr/>
          <a:lstStyle/>
          <a:p>
            <a:r>
              <a:rPr lang="ru-RU" sz="2700" dirty="0"/>
              <a:t>Проблема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8BB556F-578D-4374-9126-C579886E27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6560" y="1216995"/>
            <a:ext cx="967574" cy="967574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C291CA4-189B-4603-AEAA-CBE73BD2E0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44564" y="2467106"/>
            <a:ext cx="911566" cy="913934"/>
          </a:xfrm>
          <a:prstGeom prst="rect">
            <a:avLst/>
          </a:prstGeom>
        </p:spPr>
      </p:pic>
      <p:pic>
        <p:nvPicPr>
          <p:cNvPr id="1826818" name="Picture 2">
            <a:extLst>
              <a:ext uri="{FF2B5EF4-FFF2-40B4-BE49-F238E27FC236}">
                <a16:creationId xmlns:a16="http://schemas.microsoft.com/office/drawing/2014/main" id="{892B5F03-1543-4DB1-8A1E-4419B3B3FA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4564" y="3724212"/>
            <a:ext cx="938570" cy="649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7363703"/>
      </p:ext>
    </p:extLst>
  </p:cSld>
  <p:clrMapOvr>
    <a:masterClrMapping/>
  </p:clrMapOvr>
  <p:transition spd="slow">
    <p:wipe dir="r"/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281" y="694603"/>
            <a:ext cx="8439104" cy="124649"/>
          </a:xfrm>
        </p:spPr>
        <p:txBody>
          <a:bodyPr/>
          <a:lstStyle/>
          <a:p>
            <a:r>
              <a:rPr lang="ru-RU" sz="900" dirty="0"/>
              <a:t>Какую актуальную проблему адресует проект ? Каков масштаб проблемы? Приведите ключевые данные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281" y="320653"/>
            <a:ext cx="8439104" cy="415498"/>
          </a:xfrm>
        </p:spPr>
        <p:txBody>
          <a:bodyPr/>
          <a:lstStyle/>
          <a:p>
            <a:r>
              <a:rPr lang="ru-RU" sz="2700" dirty="0"/>
              <a:t>Проблема </a:t>
            </a: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16F8B708-C73D-4358-9CA6-E092DDC8F564}"/>
              </a:ext>
            </a:extLst>
          </p:cNvPr>
          <p:cNvGraphicFramePr>
            <a:graphicFrameLocks noGrp="1"/>
          </p:cNvGraphicFramePr>
          <p:nvPr/>
        </p:nvGraphicFramePr>
        <p:xfrm>
          <a:off x="351282" y="1005841"/>
          <a:ext cx="8224484" cy="37864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24484">
                  <a:extLst>
                    <a:ext uri="{9D8B030D-6E8A-4147-A177-3AD203B41FA5}">
                      <a16:colId xmlns:a16="http://schemas.microsoft.com/office/drawing/2014/main" val="367032110"/>
                    </a:ext>
                  </a:extLst>
                </a:gridCol>
              </a:tblGrid>
              <a:tr h="891540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Проблемы в российском школьном образовании (вывод экспертов на основе отчетов об итогах ВПР, анализа PISA и диагностических работ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527743512"/>
                  </a:ext>
                </a:extLst>
              </a:tr>
              <a:tr h="372728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/>
                        <a:t>Низкий уровень читательской и цифровой грамотности школьников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98533346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ru-RU" sz="1500" dirty="0"/>
                        <a:t>Низкий уровень читательских компетенций родителей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14672880"/>
                  </a:ext>
                </a:extLst>
              </a:tr>
              <a:tr h="783335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/>
                        <a:t>Дефицит психолого-педагогических и методических компетенций школьных библиотекарей, родителей и учителей по организации читательской деятельности школьников 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493274163"/>
                  </a:ext>
                </a:extLst>
              </a:tr>
              <a:tr h="589770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/>
                        <a:t>Отсутствие читательской экосистемы в образовательной деятельности (</a:t>
                      </a:r>
                      <a:r>
                        <a:rPr lang="ru-RU" sz="1500" dirty="0" err="1"/>
                        <a:t>недооснащенность</a:t>
                      </a:r>
                      <a:r>
                        <a:rPr lang="ru-RU" sz="1500" dirty="0"/>
                        <a:t> библиотечных фондов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512230568"/>
                  </a:ext>
                </a:extLst>
              </a:tr>
              <a:tr h="783335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/>
                        <a:t>Несформированность общей модели вовлечения субъектов образовательных отношений (школа – семья) в процесс формирования читательской среды для школьников </a:t>
                      </a:r>
                    </a:p>
                    <a:p>
                      <a:endParaRPr lang="ru-RU" sz="15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9066270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3400588"/>
      </p:ext>
    </p:extLst>
  </p:cSld>
  <p:clrMapOvr>
    <a:masterClrMapping/>
  </p:clrMapOvr>
  <p:transition spd="slow">
    <p:wipe dir="r"/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994" y="648883"/>
            <a:ext cx="8439104" cy="124649"/>
          </a:xfrm>
        </p:spPr>
        <p:txBody>
          <a:bodyPr/>
          <a:lstStyle/>
          <a:p>
            <a:r>
              <a:rPr lang="ru-RU" sz="900" dirty="0"/>
              <a:t>Каковы целевые эффекты от реализации? Какие показатели изменятся, в какой мере?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5086" y="1022831"/>
            <a:ext cx="8439150" cy="1685169"/>
          </a:xfrm>
        </p:spPr>
        <p:txBody>
          <a:bodyPr/>
          <a:lstStyle/>
          <a:p>
            <a:pPr marL="0" indent="0">
              <a:buNone/>
            </a:pPr>
            <a:r>
              <a:rPr lang="ru-RU" sz="1050" b="1" dirty="0"/>
              <a:t>Создание качественной читательской среды в современной школе через реализацию 5 шагов:</a:t>
            </a:r>
          </a:p>
          <a:p>
            <a:pPr marL="0" indent="0">
              <a:buNone/>
            </a:pPr>
            <a:r>
              <a:rPr lang="ru-RU" sz="1050" dirty="0"/>
              <a:t>1. Самоорганизация родителей в поддержку интереса ребенка к чтению; 2. Развитие активной читательской среды внутри и вокруг школы; 3. Чтение через все предметы; 4. Чтение и внеурочная деятельность; 5. Самоорганизация школьников.</a:t>
            </a:r>
            <a:endParaRPr lang="ru-RU" sz="1050" b="1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6994" y="274933"/>
            <a:ext cx="8439104" cy="415498"/>
          </a:xfrm>
        </p:spPr>
        <p:txBody>
          <a:bodyPr/>
          <a:lstStyle/>
          <a:p>
            <a:r>
              <a:rPr lang="ru-RU" sz="2700" dirty="0"/>
              <a:t>Цель проекта </a:t>
            </a: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F6D9D2F5-C0C3-4EE8-847A-1671083648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5580598"/>
              </p:ext>
            </p:extLst>
          </p:nvPr>
        </p:nvGraphicFramePr>
        <p:xfrm>
          <a:off x="405086" y="1611597"/>
          <a:ext cx="8221707" cy="35319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93352">
                  <a:extLst>
                    <a:ext uri="{9D8B030D-6E8A-4147-A177-3AD203B41FA5}">
                      <a16:colId xmlns:a16="http://schemas.microsoft.com/office/drawing/2014/main" val="403805124"/>
                    </a:ext>
                  </a:extLst>
                </a:gridCol>
                <a:gridCol w="1528355">
                  <a:extLst>
                    <a:ext uri="{9D8B030D-6E8A-4147-A177-3AD203B41FA5}">
                      <a16:colId xmlns:a16="http://schemas.microsoft.com/office/drawing/2014/main" val="1544468473"/>
                    </a:ext>
                  </a:extLst>
                </a:gridCol>
              </a:tblGrid>
              <a:tr h="270543">
                <a:tc>
                  <a:txBody>
                    <a:bodyPr/>
                    <a:lstStyle/>
                    <a:p>
                      <a:r>
                        <a:rPr lang="ru-RU" sz="1100" dirty="0"/>
                        <a:t>Ожидаемые результаты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Сроки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506208578"/>
                  </a:ext>
                </a:extLst>
              </a:tr>
              <a:tr h="708660">
                <a:tc>
                  <a:txBody>
                    <a:bodyPr/>
                    <a:lstStyle/>
                    <a:p>
                      <a:r>
                        <a:rPr lang="ru-RU" sz="1100" dirty="0"/>
                        <a:t>Вовлечение в проекты и конкурсы по чтению не менее 5000 родителей в пилотных регионах. Пилотные площадки: региональные (Калининградская область, Свердловская область, Курская область), муниципальные (Сарапульский район Удмуртской Республики), на базе отдельных образовательных организаций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1,5 года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593413283"/>
                  </a:ext>
                </a:extLst>
              </a:tr>
              <a:tr h="388620">
                <a:tc>
                  <a:txBody>
                    <a:bodyPr/>
                    <a:lstStyle/>
                    <a:p>
                      <a:r>
                        <a:rPr lang="ru-RU" sz="1100" dirty="0"/>
                        <a:t>Повышение читательской и информационной грамотности учащихся на 10% и выше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1,5 года</a:t>
                      </a:r>
                    </a:p>
                    <a:p>
                      <a:endParaRPr lang="ru-RU" sz="11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548298328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ru-RU" sz="1100" dirty="0"/>
                        <a:t>Повышение квалификации учителей-предметников за счет организации на электронной платформе Проекта информационного канала о научно-популярных произведениях, расширяющих границы обучающих программ. Канал в открытом доступе. Оценка эффективности – по отзывам пользователей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1,5 года</a:t>
                      </a:r>
                    </a:p>
                    <a:p>
                      <a:endParaRPr lang="ru-RU" sz="11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778503856"/>
                  </a:ext>
                </a:extLst>
              </a:tr>
              <a:tr h="388620">
                <a:tc>
                  <a:txBody>
                    <a:bodyPr/>
                    <a:lstStyle/>
                    <a:p>
                      <a:r>
                        <a:rPr lang="ru-RU" sz="1100" dirty="0"/>
                        <a:t>Включение в планы работы не менее 80% школьных библиотек  пилотных регионов программу «Основы информационной культуры школьников».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январь 2021 года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243575206"/>
                  </a:ext>
                </a:extLst>
              </a:tr>
              <a:tr h="388620">
                <a:tc>
                  <a:txBody>
                    <a:bodyPr/>
                    <a:lstStyle/>
                    <a:p>
                      <a:r>
                        <a:rPr lang="ru-RU" sz="1100" dirty="0"/>
                        <a:t>Обеспечение 100% образовательных организаций в пилотных регионах электронным ресурсом «Читающая школа»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январь 2021 года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610177531"/>
                  </a:ext>
                </a:extLst>
              </a:tr>
              <a:tr h="388620">
                <a:tc>
                  <a:txBody>
                    <a:bodyPr/>
                    <a:lstStyle/>
                    <a:p>
                      <a:r>
                        <a:rPr lang="ru-RU" sz="1100" dirty="0"/>
                        <a:t>Тиражирование Проекта из пилотного формата на всю страну позволит России войти в первую десятку стран в рейтинге международного исследования PISA.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Срок тиражирования Проекта 2021-2022 гг.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58779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4383812"/>
      </p:ext>
    </p:extLst>
  </p:cSld>
  <p:clrMapOvr>
    <a:masterClrMapping/>
  </p:clrMapOvr>
  <p:transition spd="slow">
    <p:wipe dir="r"/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281" y="694603"/>
            <a:ext cx="8439104" cy="124649"/>
          </a:xfrm>
        </p:spPr>
        <p:txBody>
          <a:bodyPr/>
          <a:lstStyle/>
          <a:p>
            <a:r>
              <a:rPr lang="ru-RU" sz="900" dirty="0"/>
              <a:t>Краткое описание предлагаемого решения. 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1650" dirty="0"/>
              <a:t>Проект представляет собой эффективный механизм для повышения уровня функциональной грамотности детей, воспитание гармонично развитой и социально ответственной личности через создание для каждого ребенка мотивирующей читательской среды с привлечением родительского, педагогического и библиотечного сообществ. </a:t>
            </a:r>
          </a:p>
          <a:p>
            <a:pPr marL="0" indent="0">
              <a:buNone/>
            </a:pPr>
            <a:r>
              <a:rPr lang="ru-RU" sz="1650" dirty="0"/>
              <a:t>Проект включает в себя методическую поддержку, сопровождение, мотивацию родителей, учителей, школьных библиотекарей, общественности для решения задачи сохранения и развития культуры чтения.</a:t>
            </a:r>
            <a:endParaRPr lang="ru-RU" sz="1650" dirty="0">
              <a:highlight>
                <a:srgbClr val="FFFF00"/>
              </a:highlight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281" y="291469"/>
            <a:ext cx="8439104" cy="415498"/>
          </a:xfrm>
        </p:spPr>
        <p:txBody>
          <a:bodyPr/>
          <a:lstStyle/>
          <a:p>
            <a:r>
              <a:rPr lang="ru-RU" sz="2700" dirty="0"/>
              <a:t>Суть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216534041"/>
      </p:ext>
    </p:extLst>
  </p:cSld>
  <p:clrMapOvr>
    <a:masterClrMapping/>
  </p:clrMapOvr>
  <p:transition spd="slow">
    <p:wipe dir="r"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281" y="862335"/>
            <a:ext cx="8439104" cy="24929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900" dirty="0">
                <a:solidFill>
                  <a:schemeClr val="dk1"/>
                </a:solidFill>
              </a:rPr>
              <a:t>На какие сегменты населения\рынка ориентирован проект и его продукт? Укажите размер целевой аудитории – текущий и в перспективе</a:t>
            </a:r>
            <a:br>
              <a:rPr lang="ru-RU" sz="900" dirty="0">
                <a:solidFill>
                  <a:schemeClr val="dk1"/>
                </a:solidFill>
              </a:rPr>
            </a:br>
            <a:endParaRPr lang="ru-RU" sz="900" dirty="0">
              <a:solidFill>
                <a:schemeClr val="dk1"/>
              </a:solidFill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800" dirty="0"/>
              <a:t>Педагогическое сообщество (учителя-предметники, методисты, администрация школы, школьные библиотекари).</a:t>
            </a:r>
          </a:p>
          <a:p>
            <a:r>
              <a:rPr lang="ru-RU" sz="1800" dirty="0"/>
              <a:t>Родительское сообщество.</a:t>
            </a:r>
          </a:p>
          <a:p>
            <a:r>
              <a:rPr lang="ru-RU" sz="1800" dirty="0"/>
              <a:t>Государство.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281" y="270694"/>
            <a:ext cx="8439104" cy="415498"/>
          </a:xfrm>
        </p:spPr>
        <p:txBody>
          <a:bodyPr/>
          <a:lstStyle/>
          <a:p>
            <a:r>
              <a:rPr lang="ru-RU" sz="2700" dirty="0"/>
              <a:t>Анализ рынка, целевая аудитория</a:t>
            </a:r>
          </a:p>
        </p:txBody>
      </p:sp>
    </p:spTree>
    <p:extLst>
      <p:ext uri="{BB962C8B-B14F-4D97-AF65-F5344CB8AC3E}">
        <p14:creationId xmlns:p14="http://schemas.microsoft.com/office/powerpoint/2010/main" val="1691785197"/>
      </p:ext>
    </p:extLst>
  </p:cSld>
  <p:clrMapOvr>
    <a:masterClrMapping/>
  </p:clrMapOvr>
  <p:transition spd="slow">
    <p:wipe dir="r"/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4" y="708922"/>
            <a:ext cx="8439104" cy="276999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900" dirty="0"/>
              <a:t>Какие материальные и нематериальные объекты, продукты и (или) услуги мы создадим в рамках проекта. </a:t>
            </a:r>
            <a:br>
              <a:rPr lang="ru-RU" sz="900" dirty="0"/>
            </a:br>
            <a:r>
              <a:rPr lang="ru-RU" sz="900" dirty="0"/>
              <a:t>Краткосрочные и долгосрочные ключевые результаты проекта, описание их взаимосвязи. По возможности представьте в виде дерева продуктов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282" y="1045964"/>
            <a:ext cx="8509664" cy="3051572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ru-RU" sz="1050" b="1" dirty="0"/>
              <a:t>Количественные показатели</a:t>
            </a:r>
          </a:p>
          <a:p>
            <a:pPr marL="0" indent="0">
              <a:buNone/>
            </a:pPr>
            <a:r>
              <a:rPr lang="ru-RU" sz="1050" dirty="0"/>
              <a:t>В рамках Проекта создано:</a:t>
            </a:r>
          </a:p>
          <a:p>
            <a:r>
              <a:rPr lang="ru-RU" sz="1050" dirty="0"/>
              <a:t>Цифровая площадка на имеющейся платформе www.rusla.ru: интернет-ресурс Ассоциации школьных библиотекарей русского мира. Площадка включает в себя несколько разделов, соответствующих созданию методических, обучающих, просветительских образовательных пространств. Каждый раздел содержит каталог готовых решений. Функционал площадки позволяет воспользоваться готовым решением для участия в Проекте.</a:t>
            </a:r>
          </a:p>
          <a:p>
            <a:r>
              <a:rPr lang="ru-RU" sz="1050" dirty="0"/>
              <a:t>Инфраструктура сетевого взаимодействия  для общения между представителями профильных сообществ (не менее 5000 пользователей).</a:t>
            </a:r>
          </a:p>
          <a:p>
            <a:r>
              <a:rPr lang="ru-RU" sz="1050" dirty="0"/>
              <a:t>Методические материалы, распространяемые в печатном формате ежемесячно среди профильной читательской аудитории (школьные библиотекари, методисты, учителя, дети, родители), профильных ведомств.</a:t>
            </a:r>
          </a:p>
          <a:p>
            <a:r>
              <a:rPr lang="ru-RU" sz="1050" dirty="0"/>
              <a:t>Просветительские программы по развитию читательской грамотности для родителей (не менее 5).</a:t>
            </a:r>
          </a:p>
          <a:p>
            <a:r>
              <a:rPr lang="ru-RU" sz="1050" dirty="0"/>
              <a:t>Региональные пилотные площадки (не менее 7).</a:t>
            </a:r>
          </a:p>
          <a:p>
            <a:r>
              <a:rPr lang="ru-RU" sz="1050" dirty="0"/>
              <a:t>Комнаты читающей мамы в не менее 15% школ в каждом пилотном регионе.</a:t>
            </a:r>
          </a:p>
          <a:p>
            <a:r>
              <a:rPr lang="ru-RU" sz="1050" dirty="0"/>
              <a:t>Читательский конкурс для школьников и родителей.</a:t>
            </a:r>
          </a:p>
          <a:p>
            <a:r>
              <a:rPr lang="ru-RU" sz="1050" dirty="0"/>
              <a:t>Профессиональный конкурс для школьных библиотекарей.</a:t>
            </a:r>
          </a:p>
          <a:p>
            <a:r>
              <a:rPr lang="ru-RU" sz="1050" dirty="0"/>
              <a:t>Волонтерские читательские проекты (не менее 3), сообщество волонтеров чтения (не менее 1 000 участников).</a:t>
            </a:r>
          </a:p>
          <a:p>
            <a:r>
              <a:rPr lang="ru-RU" sz="1050" dirty="0"/>
              <a:t>Дополнительная профессиональная программа для педагогов-библиотекарей.</a:t>
            </a:r>
          </a:p>
          <a:p>
            <a:r>
              <a:rPr lang="ru-RU" sz="1050" dirty="0"/>
              <a:t>Создание линейки пособий по программе внеурочной деятельности «Основы информационной культуры школьников» </a:t>
            </a:r>
            <a:br>
              <a:rPr lang="ru-RU" sz="1050" dirty="0"/>
            </a:br>
            <a:r>
              <a:rPr lang="ru-RU" sz="1050" dirty="0"/>
              <a:t>(с 1-го по 11-й класс).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281" y="203753"/>
            <a:ext cx="8439104" cy="415498"/>
          </a:xfrm>
        </p:spPr>
        <p:txBody>
          <a:bodyPr/>
          <a:lstStyle/>
          <a:p>
            <a:pPr defTabSz="685800">
              <a:spcBef>
                <a:spcPts val="0"/>
              </a:spcBef>
              <a:defRPr/>
            </a:pPr>
            <a:r>
              <a:rPr lang="ru-RU" sz="2700" dirty="0"/>
              <a:t>Ключевые результаты (продукты) проекта </a:t>
            </a:r>
          </a:p>
        </p:txBody>
      </p:sp>
    </p:spTree>
    <p:extLst>
      <p:ext uri="{BB962C8B-B14F-4D97-AF65-F5344CB8AC3E}">
        <p14:creationId xmlns:p14="http://schemas.microsoft.com/office/powerpoint/2010/main" val="4153173681"/>
      </p:ext>
    </p:extLst>
  </p:cSld>
  <p:clrMapOvr>
    <a:masterClrMapping/>
  </p:clrMapOvr>
  <p:transition spd="slow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F447FD5-8BF0-4C92-856D-578CAC321369}"/>
              </a:ext>
            </a:extLst>
          </p:cNvPr>
          <p:cNvSpPr/>
          <p:nvPr/>
        </p:nvSpPr>
        <p:spPr>
          <a:xfrm>
            <a:off x="0" y="86917"/>
            <a:ext cx="9144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3000" b="1" dirty="0">
                <a:solidFill>
                  <a:srgbClr val="FF0000"/>
                </a:solidFill>
                <a:latin typeface="+mj-lt"/>
              </a:rPr>
              <a:t>Итоги всероссийской читательской акции </a:t>
            </a:r>
            <a:br>
              <a:rPr lang="ru-RU" sz="3000" b="1" dirty="0">
                <a:solidFill>
                  <a:srgbClr val="FF0000"/>
                </a:solidFill>
                <a:latin typeface="+mj-lt"/>
              </a:rPr>
            </a:br>
            <a:r>
              <a:rPr lang="ru-RU" sz="3000" b="1" dirty="0">
                <a:solidFill>
                  <a:srgbClr val="FF0000"/>
                </a:solidFill>
                <a:latin typeface="+mj-lt"/>
              </a:rPr>
              <a:t>«Обнимем ребенка с книгой!»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A25A75C-C8F1-4777-8520-84423F12B1E8}"/>
              </a:ext>
            </a:extLst>
          </p:cNvPr>
          <p:cNvSpPr txBox="1"/>
          <p:nvPr/>
        </p:nvSpPr>
        <p:spPr>
          <a:xfrm>
            <a:off x="467544" y="1347614"/>
            <a:ext cx="8352928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НОМИНАЦИЯ «ВИДЕО»</a:t>
            </a:r>
          </a:p>
          <a:p>
            <a:pPr algn="l"/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Победитель</a:t>
            </a:r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 </a:t>
            </a:r>
            <a:r>
              <a:rPr lang="ru-RU" sz="1600" b="1" i="0" dirty="0" err="1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Вятскин</a:t>
            </a:r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Артём</a:t>
            </a:r>
            <a:r>
              <a:rPr lang="ru-RU" sz="16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 - г. Красноярск </a:t>
            </a:r>
            <a:r>
              <a:rPr lang="ru-RU" sz="16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2"/>
              </a:rPr>
              <a:t>https://vk.com/id113370901?w=wall113370901_2163</a:t>
            </a:r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/>
            <a:endParaRPr lang="ru-RU" sz="1600" b="1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Лауреаты первой степени:</a:t>
            </a:r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 3 «А» класс, Артинский лицей</a:t>
            </a:r>
            <a:r>
              <a:rPr lang="ru-RU" sz="16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 - Свердловская область, п. Арти </a:t>
            </a:r>
            <a:r>
              <a:rPr lang="ru-RU" sz="16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3"/>
              </a:rPr>
              <a:t>https://vk.com/wall-193810173_62</a:t>
            </a:r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 Куропаткина Анна</a:t>
            </a:r>
            <a:r>
              <a:rPr lang="ru-RU" sz="16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 - г. Великий Новгород </a:t>
            </a:r>
            <a:r>
              <a:rPr lang="ru-RU" sz="16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4"/>
              </a:rPr>
              <a:t>https://vk.com/wall505663678_30</a:t>
            </a:r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6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 Шадрин Илья с мамой и папой </a:t>
            </a:r>
            <a:r>
              <a:rPr lang="ru-RU" sz="16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- Удмуртская Республика, Каракулинский район, дер. Малые </a:t>
            </a:r>
            <a:r>
              <a:rPr lang="ru-RU" sz="1600" b="0" i="0" dirty="0" err="1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Калмаши</a:t>
            </a:r>
            <a:r>
              <a:rPr lang="ru-RU" sz="16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ru-RU" sz="16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5"/>
              </a:rPr>
              <a:t>https://vk.com/video150672885_456239031</a:t>
            </a:r>
            <a:endParaRPr lang="ru-RU" sz="16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5327391"/>
      </p:ext>
    </p:extLst>
  </p:cSld>
  <p:clrMapOvr>
    <a:masterClrMapping/>
  </p:clrMapOvr>
  <p:transition spd="slow" advClick="0" advTm="16218">
    <p:wheel/>
  </p:transition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4" y="699542"/>
            <a:ext cx="8439104" cy="276999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900" dirty="0"/>
              <a:t>Какие материальные и нематериальные объекты, продукты и (или) услуги мы создадим в рамках проекта. </a:t>
            </a:r>
            <a:br>
              <a:rPr lang="ru-RU" sz="900" dirty="0"/>
            </a:br>
            <a:r>
              <a:rPr lang="ru-RU" sz="900" dirty="0"/>
              <a:t>Краткосрочные и долгосрочные ключевые результаты проекта, описание их взаимосвязи. По возможности представьте в виде дерева продуктов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1500" b="1" dirty="0"/>
              <a:t>Качественные показатели </a:t>
            </a:r>
            <a:endParaRPr lang="en-US" sz="1500" b="1" dirty="0"/>
          </a:p>
          <a:p>
            <a:r>
              <a:rPr lang="ru-RU" sz="1500" dirty="0"/>
              <a:t>Формирование лояльности к проекту социальных институтов (вовлечение в проект широких слоев общественности).</a:t>
            </a:r>
          </a:p>
          <a:p>
            <a:r>
              <a:rPr lang="ru-RU" sz="1500" dirty="0"/>
              <a:t>Создание достойного информационного повода для СМИ, освещающих и продвигающих социально значимые темы.</a:t>
            </a:r>
          </a:p>
          <a:p>
            <a:r>
              <a:rPr lang="ru-RU" sz="1500" dirty="0"/>
              <a:t>Взаимодействие с профильными структурами – региональные институты развития образования, Институт стратегии развития образования РАО (Центр оценки качества образования) - с целью получения экспертной оценки и отбора лучших практик для тиражирования, в том числе способных оказать положительное влияние на уровень качества чтения, осмысления и анализа полученной информации, развития речи, а значит образования в целом. Выявление и трансляция директорам российских школ инновационных практик по улучшению результатов учащихся.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281" y="203753"/>
            <a:ext cx="8439104" cy="415498"/>
          </a:xfrm>
        </p:spPr>
        <p:txBody>
          <a:bodyPr/>
          <a:lstStyle/>
          <a:p>
            <a:pPr defTabSz="685800">
              <a:spcBef>
                <a:spcPts val="0"/>
              </a:spcBef>
              <a:defRPr/>
            </a:pPr>
            <a:r>
              <a:rPr lang="ru-RU" sz="2700" dirty="0"/>
              <a:t>Ключевые результаты (продукты) проекта </a:t>
            </a:r>
          </a:p>
        </p:txBody>
      </p:sp>
    </p:spTree>
    <p:extLst>
      <p:ext uri="{BB962C8B-B14F-4D97-AF65-F5344CB8AC3E}">
        <p14:creationId xmlns:p14="http://schemas.microsoft.com/office/powerpoint/2010/main" val="1163270033"/>
      </p:ext>
    </p:extLst>
  </p:cSld>
  <p:clrMapOvr>
    <a:masterClrMapping/>
  </p:clrMapOvr>
  <p:transition spd="slow">
    <p:wipe dir="r"/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281" y="734668"/>
            <a:ext cx="8439104" cy="138500"/>
          </a:xfrm>
        </p:spPr>
        <p:txBody>
          <a:bodyPr/>
          <a:lstStyle/>
          <a:p>
            <a:pPr defTabSz="6858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900" dirty="0"/>
              <a:t>Чем ваш замысел отличается от аналогов и существующих решений?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ru-RU" sz="1500" dirty="0"/>
              <a:t>Проект представляет собой уникальное соединение общественной инициативы с государственными программами развития. </a:t>
            </a:r>
            <a:endParaRPr lang="en-US" sz="1500" dirty="0"/>
          </a:p>
          <a:p>
            <a:pPr marL="0" indent="0">
              <a:buNone/>
            </a:pPr>
            <a:r>
              <a:rPr lang="ru-RU" sz="1500" dirty="0"/>
              <a:t>Аналогов настоящему Проекту на сегодня не существует.</a:t>
            </a:r>
          </a:p>
          <a:p>
            <a:pPr marL="0" indent="0">
              <a:buNone/>
            </a:pPr>
            <a:r>
              <a:rPr lang="ru-RU" sz="1500" dirty="0"/>
              <a:t>Проект при соответствующей административной поддержке может стать национальной идеей, вокруг которой сплотится все общество: вернуть России репутацию самой читающей страны в мире.</a:t>
            </a:r>
          </a:p>
          <a:p>
            <a:pPr marL="0" indent="0">
              <a:buNone/>
            </a:pPr>
            <a:r>
              <a:rPr lang="ru-RU" sz="1500" dirty="0"/>
              <a:t>Проект предусматривает комплексный подход к его реализации и позволяет привлечь внимание и ресурсы всего общества. </a:t>
            </a:r>
          </a:p>
          <a:p>
            <a:pPr marL="0" indent="0">
              <a:buNone/>
            </a:pPr>
            <a:r>
              <a:rPr lang="ru-RU" sz="1500" dirty="0"/>
              <a:t>Идеология проекта построена на экспертном изучении и соединении лучших российских традиций с зарубежными разработками по формированию активной читательской среды. </a:t>
            </a:r>
          </a:p>
          <a:p>
            <a:pPr marL="0" indent="0">
              <a:buNone/>
            </a:pPr>
            <a:r>
              <a:rPr lang="ru-RU" sz="1500" dirty="0"/>
              <a:t>Став общенациональным, этот Проект сыграет решающую роль в решении российской амбициозной задачи:  попасть в десятку лучших стран по качеству образования к 2024 году.</a:t>
            </a:r>
          </a:p>
          <a:p>
            <a:pPr marL="0" indent="0">
              <a:buNone/>
            </a:pPr>
            <a:endParaRPr lang="ru-RU" sz="15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281" y="222220"/>
            <a:ext cx="8439104" cy="415498"/>
          </a:xfrm>
        </p:spPr>
        <p:txBody>
          <a:bodyPr/>
          <a:lstStyle/>
          <a:p>
            <a:r>
              <a:rPr lang="ru-RU" sz="2700" dirty="0"/>
              <a:t>Новизна решения</a:t>
            </a:r>
          </a:p>
        </p:txBody>
      </p:sp>
    </p:spTree>
    <p:extLst>
      <p:ext uri="{BB962C8B-B14F-4D97-AF65-F5344CB8AC3E}">
        <p14:creationId xmlns:p14="http://schemas.microsoft.com/office/powerpoint/2010/main" val="2140793883"/>
      </p:ext>
    </p:extLst>
  </p:cSld>
  <p:clrMapOvr>
    <a:masterClrMapping/>
  </p:clrMapOvr>
  <p:transition spd="slow">
    <p:wipe dir="r"/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552" y="711039"/>
            <a:ext cx="8439104" cy="24929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900" dirty="0"/>
              <a:t>Идея </a:t>
            </a:r>
            <a:r>
              <a:rPr lang="en-US" sz="900" dirty="0"/>
              <a:t>⟶ </a:t>
            </a:r>
            <a:r>
              <a:rPr lang="ru-RU" sz="900" dirty="0"/>
              <a:t>Наличие прототипа/макета/опытного образца</a:t>
            </a:r>
            <a:r>
              <a:rPr lang="en-US" sz="900" dirty="0"/>
              <a:t> ⟶ </a:t>
            </a:r>
            <a:r>
              <a:rPr lang="ru-RU" sz="900" dirty="0"/>
              <a:t>Наличие экспертизы</a:t>
            </a:r>
            <a:r>
              <a:rPr lang="en-US" sz="900" dirty="0"/>
              <a:t>/</a:t>
            </a:r>
            <a:r>
              <a:rPr lang="ru-RU" sz="900" dirty="0"/>
              <a:t>поддержки сообщества и спонсоров</a:t>
            </a:r>
            <a:r>
              <a:rPr lang="en-US" sz="900" dirty="0"/>
              <a:t>/</a:t>
            </a:r>
            <a:r>
              <a:rPr lang="ru-RU" sz="900" dirty="0"/>
              <a:t>договоренностей</a:t>
            </a:r>
            <a:r>
              <a:rPr lang="en-US" sz="900" dirty="0"/>
              <a:t>/</a:t>
            </a:r>
            <a:r>
              <a:rPr lang="ru-RU" sz="900" dirty="0"/>
              <a:t>ресурсной базы</a:t>
            </a:r>
            <a:r>
              <a:rPr lang="en-US" sz="900" dirty="0"/>
              <a:t> ⟶ </a:t>
            </a:r>
            <a:br>
              <a:rPr lang="en-US" sz="900" dirty="0"/>
            </a:br>
            <a:r>
              <a:rPr lang="ru-RU" sz="900" dirty="0"/>
              <a:t>Реализованный пилот или локальное внедрение</a:t>
            </a:r>
            <a:r>
              <a:rPr lang="en-US" sz="900" dirty="0"/>
              <a:t> ⟶ </a:t>
            </a:r>
            <a:r>
              <a:rPr lang="ru-RU" sz="900" dirty="0"/>
              <a:t>Готовность передачи в производство или тиражирование. 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425" y="1131590"/>
            <a:ext cx="8439150" cy="3051572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ru-RU" sz="1350" dirty="0"/>
              <a:t>Проект реализуется на базе пилотных площадок в различных регионах страны. Собран и описан интересный опыт и изданы методические рекомендации для широкого тиражирования социально-важного проекта.</a:t>
            </a:r>
          </a:p>
          <a:p>
            <a:pPr marL="0" indent="0">
              <a:buNone/>
            </a:pPr>
            <a:r>
              <a:rPr lang="ru-RU" sz="1350" dirty="0"/>
              <a:t>Примеры пилотных площадок:</a:t>
            </a:r>
          </a:p>
          <a:p>
            <a:r>
              <a:rPr lang="ru-RU" sz="1350" dirty="0"/>
              <a:t>Калининградская область (реализуется проект «Читающая мама – читающая страна»). </a:t>
            </a:r>
          </a:p>
          <a:p>
            <a:r>
              <a:rPr lang="ru-RU" sz="1350" dirty="0"/>
              <a:t>Краснодарский край (на базе школы №32 г. Краснодара открыты «Комнаты читающей мамы»). </a:t>
            </a:r>
          </a:p>
          <a:p>
            <a:r>
              <a:rPr lang="ru-RU" sz="1350" dirty="0"/>
              <a:t>Свердловская область (по инициативе министра общего и профессионального образования состоялась региональная конференция «Мы – за читающую Россию: пять шагов к читающей школе». В Конференции участвовало более 1000 директоров школ Свердловской области. </a:t>
            </a:r>
          </a:p>
          <a:p>
            <a:r>
              <a:rPr lang="ru-RU" sz="1350" dirty="0"/>
              <a:t>Курская область (проводятся конкурсы читающих семей в рамках проекта «Читающая мама – читающая страна»). </a:t>
            </a:r>
          </a:p>
          <a:p>
            <a:r>
              <a:rPr lang="ru-RU" sz="1350" dirty="0"/>
              <a:t>Новгородская область (реализуется проект «Читающая мама – читающий ребенок»). </a:t>
            </a:r>
          </a:p>
          <a:p>
            <a:r>
              <a:rPr lang="ru-RU" sz="1350" dirty="0"/>
              <a:t>Нижегородская область (реализуется сетевой проект «Добру откроем сердце: школа развивающего чтения» на основе сборника рассказов на нравственно-этическую тему). </a:t>
            </a:r>
          </a:p>
          <a:p>
            <a:r>
              <a:rPr lang="ru-RU" sz="1350" dirty="0"/>
              <a:t>Камчатский край (проводятся муниципальные конкурсы «Читающая мама – читающая страна», конкурс на «Лучшую читающую маму», организован городской клуб читающих мам).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2425" y="36590"/>
            <a:ext cx="8439104" cy="558807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ru-RU" sz="2700" dirty="0"/>
              <a:t>Текущая стадия зрелости </a:t>
            </a:r>
          </a:p>
        </p:txBody>
      </p:sp>
    </p:spTree>
    <p:extLst>
      <p:ext uri="{BB962C8B-B14F-4D97-AF65-F5344CB8AC3E}">
        <p14:creationId xmlns:p14="http://schemas.microsoft.com/office/powerpoint/2010/main" val="946012864"/>
      </p:ext>
    </p:extLst>
  </p:cSld>
  <p:clrMapOvr>
    <a:masterClrMapping/>
  </p:clrMapOvr>
  <p:transition spd="slow">
    <p:wipe dir="r"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360" y="0"/>
            <a:ext cx="8727136" cy="96826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700" dirty="0"/>
              <a:t>Заказчик или лицо, выполняющее функцию заказчика (=владелец продукта, приёмщик результата проекта), функциональный заказчик (=пользователь продукта проекта), держатель бюджета, куратор,</a:t>
            </a:r>
            <a:r>
              <a:rPr lang="en-US" sz="700" dirty="0"/>
              <a:t> </a:t>
            </a:r>
            <a:r>
              <a:rPr lang="ru-RU" sz="700" dirty="0"/>
              <a:t>руководитель проекта, администратор проекта (если предусматривается), причастные заинтересованные стороны (стейкхолдеры)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536" y="1347614"/>
            <a:ext cx="8439150" cy="3051572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ru-RU" sz="1800" dirty="0"/>
              <a:t>Заказчик и владелец продукта – РШБА.</a:t>
            </a:r>
          </a:p>
          <a:p>
            <a:pPr marL="0" indent="0">
              <a:buNone/>
            </a:pPr>
            <a:r>
              <a:rPr lang="ru-RU" sz="1800" dirty="0"/>
              <a:t>Функциональный заказчик (пользователь проекта) – специалисты школьных библиотек России, школьники, родители, педагоги.</a:t>
            </a:r>
          </a:p>
          <a:p>
            <a:pPr marL="0" indent="0">
              <a:buNone/>
            </a:pPr>
            <a:r>
              <a:rPr lang="ru-RU" sz="1800" dirty="0"/>
              <a:t>Держатели бюджета – компании-партнеры, государственные гранты и субсидии.</a:t>
            </a:r>
          </a:p>
          <a:p>
            <a:pPr marL="0" indent="0">
              <a:buNone/>
            </a:pPr>
            <a:r>
              <a:rPr lang="ru-RU" sz="1800" dirty="0"/>
              <a:t>Куратор и руководитель проекта – президент РШБА.</a:t>
            </a:r>
          </a:p>
          <a:p>
            <a:pPr marL="0" indent="0">
              <a:buNone/>
            </a:pPr>
            <a:r>
              <a:rPr lang="ru-RU" sz="1800" dirty="0"/>
              <a:t>Стейкхолдеры – Министерство просвещения Российской Федерации, региональные органы управления образованием, региональные институты развития образования, специалисты школьных библиотек, школьники, родители.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7504" y="0"/>
            <a:ext cx="8928992" cy="738664"/>
          </a:xfrm>
        </p:spPr>
        <p:txBody>
          <a:bodyPr/>
          <a:lstStyle/>
          <a:p>
            <a:pPr algn="ctr"/>
            <a:r>
              <a:rPr lang="ru-RU" sz="2400" dirty="0"/>
              <a:t>Команда проекта: Матрица ролей и ключевых участников </a:t>
            </a:r>
          </a:p>
        </p:txBody>
      </p:sp>
    </p:spTree>
    <p:extLst>
      <p:ext uri="{BB962C8B-B14F-4D97-AF65-F5344CB8AC3E}">
        <p14:creationId xmlns:p14="http://schemas.microsoft.com/office/powerpoint/2010/main" val="2111730614"/>
      </p:ext>
    </p:extLst>
  </p:cSld>
  <p:clrMapOvr>
    <a:masterClrMapping/>
  </p:clrMapOvr>
  <p:transition spd="slow">
    <p:wipe dir="r"/>
  </p:transition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861448"/>
            <a:ext cx="8439104" cy="124649"/>
          </a:xfrm>
        </p:spPr>
        <p:txBody>
          <a:bodyPr/>
          <a:lstStyle/>
          <a:p>
            <a:r>
              <a:rPr lang="ru-RU" sz="900" dirty="0"/>
              <a:t>Основные этапы проекта, контрольные точки, ведущие к достижению промежуточных и конечных результатов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ru-RU" dirty="0"/>
              <a:t>Этапы реализации:</a:t>
            </a:r>
          </a:p>
          <a:p>
            <a:r>
              <a:rPr lang="ru-RU" dirty="0"/>
              <a:t>Этап 1. Создать фокус-группы. Осуществить замер исходного состояния качества чтения среди разных групп детей и молодежи, учительской среды, родительской среды.</a:t>
            </a:r>
          </a:p>
          <a:p>
            <a:r>
              <a:rPr lang="ru-RU" dirty="0"/>
              <a:t>Этап 2. Создать пилотные площадки в регионах.</a:t>
            </a:r>
          </a:p>
          <a:p>
            <a:r>
              <a:rPr lang="ru-RU" dirty="0"/>
              <a:t>Этап 3. Осуществить формирование и тиражирование комплекта методических материалов для школьных библиотек.</a:t>
            </a:r>
          </a:p>
          <a:p>
            <a:r>
              <a:rPr lang="ru-RU" dirty="0"/>
              <a:t>Этап 4. Разработать мониторинг эффективности проекта.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281" y="92521"/>
            <a:ext cx="8439104" cy="55880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2700" dirty="0"/>
              <a:t>План реализации</a:t>
            </a:r>
          </a:p>
        </p:txBody>
      </p:sp>
    </p:spTree>
    <p:extLst>
      <p:ext uri="{BB962C8B-B14F-4D97-AF65-F5344CB8AC3E}">
        <p14:creationId xmlns:p14="http://schemas.microsoft.com/office/powerpoint/2010/main" val="739703040"/>
      </p:ext>
    </p:extLst>
  </p:cSld>
  <p:clrMapOvr>
    <a:masterClrMapping/>
  </p:clrMapOvr>
  <p:transition spd="slow">
    <p:wipe dir="r"/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871753"/>
            <a:ext cx="8439104" cy="124649"/>
          </a:xfrm>
        </p:spPr>
        <p:txBody>
          <a:bodyPr/>
          <a:lstStyle/>
          <a:p>
            <a:r>
              <a:rPr lang="ru-RU" sz="900" dirty="0">
                <a:solidFill>
                  <a:schemeClr val="dk1"/>
                </a:solidFill>
              </a:rPr>
              <a:t>Источники финансирования, наличие команды, инфраструктура и т.д.</a:t>
            </a:r>
            <a:endParaRPr lang="ru-RU" sz="900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ru-RU" sz="1350" dirty="0"/>
              <a:t>Инфраструктура:</a:t>
            </a:r>
          </a:p>
          <a:p>
            <a:r>
              <a:rPr lang="ru-RU" sz="1350" dirty="0"/>
              <a:t>Взаимодействует с самой большой библиотечной сетью России, объединяющей свыше 40 000 школьных библиотек.</a:t>
            </a:r>
          </a:p>
          <a:p>
            <a:r>
              <a:rPr lang="ru-RU" sz="1350" dirty="0"/>
              <a:t>Руководители региональных отделений Ассоциации представлены в региональных институтах развития образования (ИРО).</a:t>
            </a:r>
          </a:p>
          <a:p>
            <a:pPr marL="0" indent="0">
              <a:buNone/>
            </a:pPr>
            <a:r>
              <a:rPr lang="ru-RU" sz="1350" dirty="0"/>
              <a:t>Собственные СМИ:</a:t>
            </a:r>
          </a:p>
          <a:p>
            <a:pPr marL="0" indent="0">
              <a:buNone/>
            </a:pPr>
            <a:r>
              <a:rPr lang="ru-RU" sz="1350" dirty="0"/>
              <a:t>Журнал «Школьная библиотека», журнал «</a:t>
            </a:r>
            <a:r>
              <a:rPr lang="ru-RU" sz="1350" dirty="0" err="1"/>
              <a:t>Читайка</a:t>
            </a:r>
            <a:r>
              <a:rPr lang="ru-RU" sz="1350" dirty="0"/>
              <a:t>» (ежемесячное издание для детей младшего школьного возраста, поддерживающее традиции семейного чтения), серия «Профессиональная библиотека школьного библиотекаря» с методическими материалами, научно-практическими статьями, методическими разработками.</a:t>
            </a:r>
          </a:p>
          <a:p>
            <a:pPr marL="0" indent="0">
              <a:buNone/>
            </a:pPr>
            <a:r>
              <a:rPr lang="ru-RU" sz="1350" dirty="0"/>
              <a:t>Команда:</a:t>
            </a:r>
          </a:p>
          <a:p>
            <a:pPr marL="0" indent="0">
              <a:buNone/>
            </a:pPr>
            <a:r>
              <a:rPr lang="ru-RU" sz="1350" dirty="0"/>
              <a:t>Ассоциация имеет свой стратегический комитет, в который входят специалисты школьных библиотек, имеющие богатый инновационный опыт в организации библиотечного дела, методисты, библиотековеды, собственный пул авторитетных экспертов, региональные представители, действует общественный совет.</a:t>
            </a:r>
          </a:p>
          <a:p>
            <a:pPr marL="0" indent="0">
              <a:buNone/>
            </a:pPr>
            <a:r>
              <a:rPr lang="ru-RU" sz="1350" dirty="0"/>
              <a:t>Источники финансирования: целевое обеспечение Проекта /этапов Проекта профильными министерствами (Министерство просвещения РФ, Министерство образования РФ), получение грантов.</a:t>
            </a:r>
          </a:p>
          <a:p>
            <a:pPr marL="0" indent="0">
              <a:buNone/>
            </a:pPr>
            <a:r>
              <a:rPr lang="ru-RU" sz="1350" dirty="0"/>
              <a:t>…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281" y="281082"/>
            <a:ext cx="8439104" cy="415498"/>
          </a:xfrm>
        </p:spPr>
        <p:txBody>
          <a:bodyPr/>
          <a:lstStyle/>
          <a:p>
            <a:r>
              <a:rPr lang="ru-RU" sz="2700" dirty="0"/>
              <a:t>Ресурсное обеспечение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1634199270"/>
      </p:ext>
    </p:extLst>
  </p:cSld>
  <p:clrMapOvr>
    <a:masterClrMapping/>
  </p:clrMapOvr>
  <p:transition spd="slow">
    <p:wipe dir="r"/>
  </p:transition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281" y="655030"/>
            <a:ext cx="8439104" cy="138500"/>
          </a:xfrm>
        </p:spPr>
        <p:txBody>
          <a:bodyPr/>
          <a:lstStyle/>
          <a:p>
            <a:pPr defTabSz="6858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900" dirty="0">
                <a:solidFill>
                  <a:schemeClr val="dk1"/>
                </a:solidFill>
              </a:rPr>
              <a:t>Перечень ключевых рисков.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281" y="108102"/>
            <a:ext cx="8439104" cy="55880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2700" dirty="0"/>
              <a:t>Риски </a:t>
            </a:r>
          </a:p>
        </p:txBody>
      </p:sp>
      <p:graphicFrame>
        <p:nvGraphicFramePr>
          <p:cNvPr id="13" name="Таблица 12">
            <a:extLst>
              <a:ext uri="{FF2B5EF4-FFF2-40B4-BE49-F238E27FC236}">
                <a16:creationId xmlns:a16="http://schemas.microsoft.com/office/drawing/2014/main" id="{4E96F79F-591F-4FEC-97E1-240A166C6C2D}"/>
              </a:ext>
            </a:extLst>
          </p:cNvPr>
          <p:cNvGraphicFramePr>
            <a:graphicFrameLocks noGrp="1"/>
          </p:cNvGraphicFramePr>
          <p:nvPr/>
        </p:nvGraphicFramePr>
        <p:xfrm>
          <a:off x="351282" y="901947"/>
          <a:ext cx="8196239" cy="396061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3725">
                  <a:extLst>
                    <a:ext uri="{9D8B030D-6E8A-4147-A177-3AD203B41FA5}">
                      <a16:colId xmlns:a16="http://schemas.microsoft.com/office/drawing/2014/main" val="2637538732"/>
                    </a:ext>
                  </a:extLst>
                </a:gridCol>
                <a:gridCol w="1124085">
                  <a:extLst>
                    <a:ext uri="{9D8B030D-6E8A-4147-A177-3AD203B41FA5}">
                      <a16:colId xmlns:a16="http://schemas.microsoft.com/office/drawing/2014/main" val="753910184"/>
                    </a:ext>
                  </a:extLst>
                </a:gridCol>
                <a:gridCol w="1295449">
                  <a:extLst>
                    <a:ext uri="{9D8B030D-6E8A-4147-A177-3AD203B41FA5}">
                      <a16:colId xmlns:a16="http://schemas.microsoft.com/office/drawing/2014/main" val="1903060989"/>
                    </a:ext>
                  </a:extLst>
                </a:gridCol>
                <a:gridCol w="963824">
                  <a:extLst>
                    <a:ext uri="{9D8B030D-6E8A-4147-A177-3AD203B41FA5}">
                      <a16:colId xmlns:a16="http://schemas.microsoft.com/office/drawing/2014/main" val="864612788"/>
                    </a:ext>
                  </a:extLst>
                </a:gridCol>
                <a:gridCol w="802982">
                  <a:extLst>
                    <a:ext uri="{9D8B030D-6E8A-4147-A177-3AD203B41FA5}">
                      <a16:colId xmlns:a16="http://schemas.microsoft.com/office/drawing/2014/main" val="1566658775"/>
                    </a:ext>
                  </a:extLst>
                </a:gridCol>
                <a:gridCol w="1241018">
                  <a:extLst>
                    <a:ext uri="{9D8B030D-6E8A-4147-A177-3AD203B41FA5}">
                      <a16:colId xmlns:a16="http://schemas.microsoft.com/office/drawing/2014/main" val="1222462140"/>
                    </a:ext>
                  </a:extLst>
                </a:gridCol>
                <a:gridCol w="853844">
                  <a:extLst>
                    <a:ext uri="{9D8B030D-6E8A-4147-A177-3AD203B41FA5}">
                      <a16:colId xmlns:a16="http://schemas.microsoft.com/office/drawing/2014/main" val="134022966"/>
                    </a:ext>
                  </a:extLst>
                </a:gridCol>
                <a:gridCol w="831135">
                  <a:extLst>
                    <a:ext uri="{9D8B030D-6E8A-4147-A177-3AD203B41FA5}">
                      <a16:colId xmlns:a16="http://schemas.microsoft.com/office/drawing/2014/main" val="2344001212"/>
                    </a:ext>
                  </a:extLst>
                </a:gridCol>
                <a:gridCol w="890177">
                  <a:extLst>
                    <a:ext uri="{9D8B030D-6E8A-4147-A177-3AD203B41FA5}">
                      <a16:colId xmlns:a16="http://schemas.microsoft.com/office/drawing/2014/main" val="948272715"/>
                    </a:ext>
                  </a:extLst>
                </a:gridCol>
              </a:tblGrid>
              <a:tr h="140494">
                <a:tc gridSpan="9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Матрица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9901419"/>
                  </a:ext>
                </a:extLst>
              </a:tr>
              <a:tr h="58083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</a:rPr>
                        <a:t>№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Риск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</a:rPr>
                        <a:t>Последствие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Событие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</a:rPr>
                        <a:t>Причина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Триггер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Вероятность (высокая – 3, средняя – 2, низкая - 1)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</a:rPr>
                        <a:t>Последствия (сильные – 3, средние – 2, слабые – 1)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Ранг риска (вероятность *последствия)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extLst>
                  <a:ext uri="{0D108BD9-81ED-4DB2-BD59-A6C34878D82A}">
                    <a16:rowId xmlns:a16="http://schemas.microsoft.com/office/drawing/2014/main" val="1312673322"/>
                  </a:ext>
                </a:extLst>
              </a:tr>
              <a:tr h="116795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</a:rPr>
                        <a:t>1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Отсутствие</a:t>
                      </a:r>
                      <a:r>
                        <a:rPr lang="en-US" sz="900" dirty="0">
                          <a:effectLst/>
                        </a:rPr>
                        <a:t> </a:t>
                      </a:r>
                      <a:r>
                        <a:rPr lang="ru-RU" sz="900" dirty="0">
                          <a:effectLst/>
                        </a:rPr>
                        <a:t>административной поддержки общественной инициативы со стороны государственных структур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Затруднения в продвижении проекта в образовательных организациях страны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Смена стратегических целей развития 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Смена приоритетов в политике образования и воспитания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Указ о стратегических целях развития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1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3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3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extLst>
                  <a:ext uri="{0D108BD9-81ED-4DB2-BD59-A6C34878D82A}">
                    <a16:rowId xmlns:a16="http://schemas.microsoft.com/office/drawing/2014/main" val="66790701"/>
                  </a:ext>
                </a:extLst>
              </a:tr>
              <a:tr h="7276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</a:rPr>
                        <a:t>2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Недостаток финансирования на реализацию и дальнейшее развитие Проекта</a:t>
                      </a: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Недостаток средств на организацию и обеспечение деятельности пилотных площадок</a:t>
                      </a: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Недостаток средств у грантодателя и партнеров</a:t>
                      </a: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Усугубление финансов ого кризиса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Падение цен на нефть, падение курса рубля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</a:rPr>
                        <a:t>2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2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</a:rPr>
                        <a:t>4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extLst>
                  <a:ext uri="{0D108BD9-81ED-4DB2-BD59-A6C34878D82A}">
                    <a16:rowId xmlns:a16="http://schemas.microsoft.com/office/drawing/2014/main" val="53118858"/>
                  </a:ext>
                </a:extLst>
              </a:tr>
              <a:tr h="5808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</a:rPr>
                        <a:t>3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Введение в стране карантина в связи с пандемией Коронавируса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Переход школ на дистанционное обучение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Введение режима самоизоляции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Повторная волна коронавируса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Ухудшение эпидемиологической Обстановки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</a:rPr>
                        <a:t>2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2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4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extLst>
                  <a:ext uri="{0D108BD9-81ED-4DB2-BD59-A6C34878D82A}">
                    <a16:rowId xmlns:a16="http://schemas.microsoft.com/office/drawing/2014/main" val="4246629900"/>
                  </a:ext>
                </a:extLst>
              </a:tr>
              <a:tr h="76283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9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Изменение состава трудовых ресурсов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Увеличение сроков реализации проекта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Уход из проекта ключевых членов команды проекта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Отсутствие необходимой мотивации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Смена состава команды на 30% и более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1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2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</a:rPr>
                        <a:t>2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414" marR="17414" marT="0" marB="0"/>
                </a:tc>
                <a:extLst>
                  <a:ext uri="{0D108BD9-81ED-4DB2-BD59-A6C34878D82A}">
                    <a16:rowId xmlns:a16="http://schemas.microsoft.com/office/drawing/2014/main" val="18744397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6934611"/>
      </p:ext>
    </p:extLst>
  </p:cSld>
  <p:clrMapOvr>
    <a:masterClrMapping/>
  </p:clrMapOvr>
  <p:transition spd="slow">
    <p:wipe dir="r"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281" y="668881"/>
            <a:ext cx="8439104" cy="124649"/>
          </a:xfrm>
        </p:spPr>
        <p:txBody>
          <a:bodyPr/>
          <a:lstStyle/>
          <a:p>
            <a:r>
              <a:rPr lang="ru-RU" sz="900" dirty="0"/>
              <a:t>По срокам, по стоимости, по технологиям, по безопасности, по географии и т.д. Изначальные ограничения должны быть учтены в плане действий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385763" indent="-385763">
              <a:buAutoNum type="arabicPeriod"/>
            </a:pPr>
            <a:r>
              <a:rPr lang="ru-RU" dirty="0"/>
              <a:t>Полномасштабно Проект может быть реализован при обязательной административной  поддержке Министерства просвещения РФ (региональных министерств просвещения) и  административной поддержке со стороны государственных структур (губернаторы).</a:t>
            </a:r>
          </a:p>
          <a:p>
            <a:pPr marL="385763" indent="-385763">
              <a:buAutoNum type="arabicPeriod"/>
            </a:pPr>
            <a:r>
              <a:rPr lang="ru-RU" dirty="0"/>
              <a:t>Требуется финансовая поддержка для проведения тестирования, мониторингов, работы фокус-групп, издания методических материалов для родителей.</a:t>
            </a:r>
          </a:p>
          <a:p>
            <a:pPr marL="385763" indent="-385763">
              <a:buAutoNum type="arabicPeriod"/>
            </a:pPr>
            <a:endParaRPr lang="ru-RU" dirty="0"/>
          </a:p>
          <a:p>
            <a:pPr marL="0" indent="0">
              <a:buNone/>
            </a:pP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1281" y="108102"/>
            <a:ext cx="8439104" cy="55880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2700" dirty="0"/>
              <a:t>Ограничения  </a:t>
            </a:r>
          </a:p>
        </p:txBody>
      </p:sp>
    </p:spTree>
    <p:extLst>
      <p:ext uri="{BB962C8B-B14F-4D97-AF65-F5344CB8AC3E}">
        <p14:creationId xmlns:p14="http://schemas.microsoft.com/office/powerpoint/2010/main" val="3915881893"/>
      </p:ext>
    </p:extLst>
  </p:cSld>
  <p:clrMapOvr>
    <a:masterClrMapping/>
  </p:clrMapOvr>
  <p:transition spd="slow">
    <p:wipe dir="r"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794169"/>
            <a:ext cx="8439104" cy="249299"/>
          </a:xfrm>
        </p:spPr>
        <p:txBody>
          <a:bodyPr/>
          <a:lstStyle/>
          <a:p>
            <a:pPr>
              <a:lnSpc>
                <a:spcPct val="100000"/>
              </a:lnSpc>
            </a:pPr>
            <a:br>
              <a:rPr lang="en-US" sz="900" dirty="0">
                <a:solidFill>
                  <a:schemeClr val="dk1"/>
                </a:solidFill>
              </a:rPr>
            </a:br>
            <a:br>
              <a:rPr lang="en-US" sz="900" dirty="0">
                <a:solidFill>
                  <a:schemeClr val="dk1"/>
                </a:solidFill>
              </a:rPr>
            </a:br>
            <a:br>
              <a:rPr lang="en-US" sz="900" dirty="0">
                <a:solidFill>
                  <a:schemeClr val="dk1"/>
                </a:solidFill>
              </a:rPr>
            </a:br>
            <a:br>
              <a:rPr lang="en-US" sz="900" dirty="0">
                <a:solidFill>
                  <a:schemeClr val="dk1"/>
                </a:solidFill>
              </a:rPr>
            </a:br>
            <a:r>
              <a:rPr lang="ru-RU" sz="900" dirty="0">
                <a:solidFill>
                  <a:schemeClr val="dk1"/>
                </a:solidFill>
              </a:rPr>
              <a:t>Какой рынок создает, развивает реализация проекта? Какой эффект даст реализация проекта вне системы заявителя, а не внутри нее? </a:t>
            </a:r>
            <a:br>
              <a:rPr lang="ru-RU" sz="900" dirty="0">
                <a:solidFill>
                  <a:schemeClr val="dk1"/>
                </a:solidFill>
              </a:rPr>
            </a:br>
            <a:r>
              <a:rPr lang="ru-RU" sz="900" dirty="0"/>
              <a:t>Изменение поведения людей или функционирования объектов и систем, к которому приводит использование результата проекта?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350" dirty="0"/>
              <a:t>Формирование института ответственного родительства (читающие родители – читающие дети).</a:t>
            </a:r>
          </a:p>
          <a:p>
            <a:r>
              <a:rPr lang="ru-RU" sz="1350" dirty="0"/>
              <a:t>Изменение микроклимата в </a:t>
            </a:r>
            <a:r>
              <a:rPr lang="ru-RU" sz="1350" dirty="0" err="1"/>
              <a:t>резильентных</a:t>
            </a:r>
            <a:r>
              <a:rPr lang="ru-RU" sz="1350" dirty="0"/>
              <a:t> школах (социализация детей из неблагополучных семей и детей с особенностями развития, уравнивание возможностей детей из разных социальных слоев, детей мигрантов и т.п.).</a:t>
            </a:r>
          </a:p>
          <a:p>
            <a:r>
              <a:rPr lang="ru-RU" sz="1350" dirty="0"/>
              <a:t>Формирование массового волонтерского движения, направленного на пропаганду и продвижение чтения.</a:t>
            </a:r>
          </a:p>
          <a:p>
            <a:r>
              <a:rPr lang="ru-RU" sz="1350" dirty="0"/>
              <a:t>Создание условий для подготовки грамотного читателя – будущего постоянного посетителя публичных библиотек и книжных магазинов - начиная с детского сада и начальной школы.</a:t>
            </a:r>
          </a:p>
          <a:p>
            <a:r>
              <a:rPr lang="ru-RU" sz="1350" dirty="0"/>
              <a:t>Трансформация школьной библиотеки в гипермаркет знаний и творческую лабораторию учителей и учащихся, выстраивающей качественно новую - креативную систему мышления, установление прочных связей в парадигме «читающий учитель – читающие ученики»).</a:t>
            </a:r>
          </a:p>
          <a:p>
            <a:r>
              <a:rPr lang="ru-RU" sz="1350" dirty="0"/>
              <a:t>Повышение статуса профессии школьного педагога-библиотекаря.</a:t>
            </a:r>
          </a:p>
          <a:p>
            <a:r>
              <a:rPr lang="ru-RU" sz="1350" dirty="0"/>
              <a:t>Активизация деятельности педагогов в решении проблем детского чтения.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7544" y="252104"/>
            <a:ext cx="8439104" cy="41395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2000" dirty="0"/>
              <a:t>Системные Эффекты от реализации проекта   </a:t>
            </a:r>
          </a:p>
        </p:txBody>
      </p:sp>
    </p:spTree>
    <p:extLst>
      <p:ext uri="{BB962C8B-B14F-4D97-AF65-F5344CB8AC3E}">
        <p14:creationId xmlns:p14="http://schemas.microsoft.com/office/powerpoint/2010/main" val="3442567985"/>
      </p:ext>
    </p:extLst>
  </p:cSld>
  <p:clrMapOvr>
    <a:masterClrMapping/>
  </p:clrMapOvr>
  <p:transition spd="slow">
    <p:wipe dir="r"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79</a:t>
            </a:fld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C94C73C-7998-48F3-A445-76E1FFE1D2D9}"/>
              </a:ext>
            </a:extLst>
          </p:cNvPr>
          <p:cNvSpPr txBox="1"/>
          <p:nvPr/>
        </p:nvSpPr>
        <p:spPr>
          <a:xfrm>
            <a:off x="251943" y="210573"/>
            <a:ext cx="86409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000"/>
              </a:spcAft>
            </a:pPr>
            <a:r>
              <a:rPr lang="ru-RU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сероссийский онлайн-конкурс </a:t>
            </a:r>
            <a:br>
              <a:rPr lang="ru-RU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Читающая школа – читающая мама – читающая страна»</a:t>
            </a:r>
            <a:endParaRPr lang="ru-RU" sz="1400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DE505E9-3AC0-4D8A-8CA1-7906CA1423BE}"/>
              </a:ext>
            </a:extLst>
          </p:cNvPr>
          <p:cNvSpPr txBox="1"/>
          <p:nvPr/>
        </p:nvSpPr>
        <p:spPr>
          <a:xfrm>
            <a:off x="467544" y="1055439"/>
            <a:ext cx="8352928" cy="25750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76250">
              <a:spcAft>
                <a:spcPts val="1000"/>
              </a:spcAft>
            </a:pPr>
            <a:r>
              <a:rPr lang="ru-RU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нкурс проводится в целях создания условий для: </a:t>
            </a:r>
            <a:endParaRPr lang="ru-RU" sz="12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вышения интереса к чтению и читательской грамотности школьников и родителей; </a:t>
            </a:r>
            <a:endParaRPr lang="ru-RU" sz="1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оспитание культуры семейного чтения;</a:t>
            </a:r>
            <a:endParaRPr lang="ru-RU" sz="1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звития познавательного интереса детей и подростков;</a:t>
            </a:r>
            <a:endParaRPr lang="ru-RU" sz="1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ализации права каждого ребенка на доступность книг как источника знаний, формирующего интеллектуальное, культурное, общеобразовательное развитие, читательскую и языковую грамотность, социализацию, гражданственность.</a:t>
            </a:r>
            <a:endParaRPr lang="ru-RU" sz="1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09AC488D-81A3-4C8F-BBC7-125253D2AF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2183" y="3700072"/>
            <a:ext cx="879472" cy="122739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AFBA1D3-752C-4581-A802-1BC07E4D92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8069" y="3703072"/>
            <a:ext cx="1022424" cy="1223637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FB0AE4D-AB27-49E9-8EB1-03232C2F12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75656" y="3795886"/>
            <a:ext cx="1738830" cy="102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8431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F447FD5-8BF0-4C92-856D-578CAC321369}"/>
              </a:ext>
            </a:extLst>
          </p:cNvPr>
          <p:cNvSpPr/>
          <p:nvPr/>
        </p:nvSpPr>
        <p:spPr>
          <a:xfrm>
            <a:off x="0" y="86917"/>
            <a:ext cx="9144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3000" b="1" dirty="0">
                <a:solidFill>
                  <a:srgbClr val="FF0000"/>
                </a:solidFill>
                <a:latin typeface="+mj-lt"/>
              </a:rPr>
              <a:t>Итоги всероссийской читательской акции </a:t>
            </a:r>
            <a:br>
              <a:rPr lang="ru-RU" sz="3000" b="1" dirty="0">
                <a:solidFill>
                  <a:srgbClr val="FF0000"/>
                </a:solidFill>
                <a:latin typeface="+mj-lt"/>
              </a:rPr>
            </a:br>
            <a:r>
              <a:rPr lang="ru-RU" sz="3000" b="1" dirty="0">
                <a:solidFill>
                  <a:srgbClr val="FF0000"/>
                </a:solidFill>
                <a:latin typeface="+mj-lt"/>
              </a:rPr>
              <a:t>«Обнимем ребенка с книгой!»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D42D237-BA82-45FB-93BC-BF9AB398591B}"/>
              </a:ext>
            </a:extLst>
          </p:cNvPr>
          <p:cNvSpPr txBox="1"/>
          <p:nvPr/>
        </p:nvSpPr>
        <p:spPr>
          <a:xfrm>
            <a:off x="545828" y="1122746"/>
            <a:ext cx="8274644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7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Лауреаты второй степени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700" b="1" i="0" dirty="0" err="1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Битяева</a:t>
            </a:r>
            <a:r>
              <a:rPr lang="ru-RU" sz="17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Вера </a:t>
            </a:r>
            <a: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- Ленинградская область, п. Беседа </a:t>
            </a:r>
            <a:r>
              <a:rPr lang="ru-RU" sz="17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2"/>
              </a:rPr>
              <a:t>https://youtu.be/Hq2kmUchXeQ</a:t>
            </a:r>
            <a:endParaRPr lang="ru-RU" sz="17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7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 Семья Байковых -</a:t>
            </a:r>
            <a: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 Челябинская область, г. Южно-Уральск </a:t>
            </a:r>
            <a:r>
              <a:rPr lang="ru-RU" sz="17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3"/>
              </a:rPr>
              <a:t>https://vk.com/id195533508</a:t>
            </a:r>
            <a:endParaRPr lang="ru-RU" sz="17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7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  Вадим </a:t>
            </a:r>
            <a:r>
              <a:rPr lang="ru-RU" sz="1700" b="1" i="0" dirty="0" err="1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Мухамадеев</a:t>
            </a:r>
            <a:r>
              <a:rPr lang="ru-RU" sz="17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ru-RU" sz="1700" b="1" i="0" dirty="0" err="1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Мухамадеев</a:t>
            </a:r>
            <a:r>
              <a:rPr lang="ru-RU" sz="17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Роман </a:t>
            </a:r>
            <a: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- Республика Башкортостан, </a:t>
            </a:r>
            <a:b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</a:br>
            <a: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г. </a:t>
            </a:r>
            <a:r>
              <a:rPr lang="ru-RU" sz="1700" b="0" i="0" dirty="0" err="1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Ишимай</a:t>
            </a:r>
            <a: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   </a:t>
            </a:r>
            <a:r>
              <a:rPr lang="ru-RU" sz="17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4"/>
              </a:rPr>
              <a:t>https://youtu.be/ik8oPNO_ZTw</a:t>
            </a:r>
            <a:endParaRPr lang="ru-RU" sz="17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ru-RU" sz="17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Лауреаты третьей степени:</a:t>
            </a:r>
            <a:endParaRPr lang="ru-RU" sz="17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7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  Ковальчук Егор</a:t>
            </a:r>
            <a: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 - ученик 2 «А» класса МАОУ «Гимназия «Гармония», </a:t>
            </a:r>
            <a:b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</a:br>
            <a: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г. Великий Новгород </a:t>
            </a:r>
            <a:r>
              <a:rPr lang="ru-RU" sz="17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5"/>
              </a:rPr>
              <a:t>https://vk.com/wall505663678_32</a:t>
            </a:r>
            <a:endParaRPr lang="ru-RU" sz="17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7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  3 «Б» класс, Артинский лицей</a:t>
            </a:r>
            <a: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 - Свердловская область, </a:t>
            </a:r>
            <a:b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</a:br>
            <a: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п. Арти </a:t>
            </a:r>
            <a:r>
              <a:rPr lang="ru-RU" sz="17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6"/>
              </a:rPr>
              <a:t>https://vk.com/video-193810173_456239017</a:t>
            </a:r>
            <a:endParaRPr lang="ru-RU" sz="17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7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  Семья Герасимовых</a:t>
            </a:r>
            <a: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; мама - педагог-библиотекарь БИЦ МАОУ «Гимназия», </a:t>
            </a:r>
            <a:b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</a:br>
            <a: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г. Чернушка, Пермский край </a:t>
            </a:r>
            <a:r>
              <a:rPr lang="ru-RU" sz="17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7"/>
              </a:rPr>
              <a:t>https://youtu.be/OWX3CmGOZwo </a:t>
            </a:r>
            <a:endParaRPr lang="ru-RU" sz="17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3657406"/>
      </p:ext>
    </p:extLst>
  </p:cSld>
  <p:clrMapOvr>
    <a:masterClrMapping/>
  </p:clrMapOvr>
  <p:transition spd="slow" advClick="0" advTm="16218">
    <p:wheel/>
  </p:transition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1FCB25B-8BB5-4B61-A9A3-B0F6966F0F0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2D38BD-AC05-45EF-A3CD-5A738F89286B}" type="slidenum">
              <a:rPr lang="ru-RU" smtClean="0"/>
              <a:t>80</a:t>
            </a:fld>
            <a:endParaRPr lang="ru-RU"/>
          </a:p>
        </p:txBody>
      </p:sp>
      <p:pic>
        <p:nvPicPr>
          <p:cNvPr id="9" name="Рисунок 3">
            <a:extLst>
              <a:ext uri="{FF2B5EF4-FFF2-40B4-BE49-F238E27FC236}">
                <a16:creationId xmlns:a16="http://schemas.microsoft.com/office/drawing/2014/main" id="{E487FB42-1861-4976-B179-6B269249CB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8293" y="-11917"/>
            <a:ext cx="6167413" cy="484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28149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Прямоугольник 3">
            <a:extLst>
              <a:ext uri="{FF2B5EF4-FFF2-40B4-BE49-F238E27FC236}">
                <a16:creationId xmlns:a16="http://schemas.microsoft.com/office/drawing/2014/main" id="{571AABA5-A9A5-4646-829E-71567B03CF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95263"/>
            <a:ext cx="9144000" cy="623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7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800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сероссийский конкурс «100 СКАЗОК О КНИГЕ И ЧТЕНИИ»</a:t>
            </a:r>
            <a:br>
              <a:rPr lang="ru-RU" altLang="ru-RU" sz="1800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altLang="ru-RU" sz="1500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для учащихся 1-4 классов)</a:t>
            </a:r>
            <a:endParaRPr lang="ru-RU" altLang="ru-RU" sz="1200" dirty="0">
              <a:solidFill>
                <a:srgbClr val="FF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0EA840B2-86BE-435E-AB3C-102457EB0FBF}"/>
              </a:ext>
            </a:extLst>
          </p:cNvPr>
          <p:cNvSpPr/>
          <p:nvPr/>
        </p:nvSpPr>
        <p:spPr>
          <a:xfrm>
            <a:off x="755576" y="1131590"/>
            <a:ext cx="5040560" cy="36874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600"/>
              </a:spcAft>
              <a:defRPr/>
            </a:pPr>
            <a:r>
              <a:rPr lang="ru-RU" sz="1400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ЛОЖЕНИЕ О КОНКУРСЕ</a:t>
            </a:r>
            <a:endParaRPr lang="ru-RU" sz="1400" dirty="0">
              <a:solidFill>
                <a:srgbClr val="FF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  <a:defRPr/>
            </a:pPr>
            <a:r>
              <a:rPr lang="ru-RU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. Цели конкурса:</a:t>
            </a:r>
            <a:endParaRPr lang="ru-RU" sz="1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57175" indent="-257175">
              <a:lnSpc>
                <a:spcPct val="107000"/>
              </a:lnSpc>
              <a:buFont typeface="Symbol" panose="05050102010706020507" pitchFamily="18" charset="2"/>
              <a:buChar char=""/>
              <a:defRPr/>
            </a:pP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вышение престижа чтения и книги у учащихся начальных классов;</a:t>
            </a:r>
          </a:p>
          <a:p>
            <a:pPr marL="257175" indent="-257175">
              <a:lnSpc>
                <a:spcPct val="107000"/>
              </a:lnSpc>
              <a:buFont typeface="Symbol" panose="05050102010706020507" pitchFamily="18" charset="2"/>
              <a:buChar char=""/>
              <a:defRPr/>
            </a:pP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влечение родительской общественности к вопросам приобщения детей к творческому чтению;</a:t>
            </a:r>
          </a:p>
          <a:p>
            <a:pPr marL="257175" indent="-257175">
              <a:lnSpc>
                <a:spcPct val="107000"/>
              </a:lnSpc>
              <a:spcAft>
                <a:spcPts val="600"/>
              </a:spcAft>
              <a:buFont typeface="Symbol" panose="05050102010706020507" pitchFamily="18" charset="2"/>
              <a:buChar char=""/>
              <a:defRPr/>
            </a:pP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спространение положительного опыта работы школьных библиотек по формированию у детей устойчивого интереса к чтению.</a:t>
            </a:r>
          </a:p>
          <a:p>
            <a:pPr>
              <a:lnSpc>
                <a:spcPct val="107000"/>
              </a:lnSpc>
              <a:spcAft>
                <a:spcPts val="600"/>
              </a:spcAft>
              <a:defRPr/>
            </a:pP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600"/>
              </a:spcAft>
              <a:defRPr/>
            </a:pPr>
            <a:r>
              <a:rPr lang="ru-RU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. Участники конкурса:</a:t>
            </a:r>
            <a:endParaRPr lang="ru-RU" sz="1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57175" indent="-257175">
              <a:lnSpc>
                <a:spcPct val="107000"/>
              </a:lnSpc>
              <a:buFont typeface="Symbol" panose="05050102010706020507" pitchFamily="18" charset="2"/>
              <a:buChar char=""/>
              <a:defRPr/>
            </a:pP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чащиеся 1–4 классов;</a:t>
            </a:r>
          </a:p>
          <a:p>
            <a:pPr marL="257175" indent="-257175">
              <a:lnSpc>
                <a:spcPct val="107000"/>
              </a:lnSpc>
              <a:buFont typeface="Symbol" panose="05050102010706020507" pitchFamily="18" charset="2"/>
              <a:buChar char=""/>
              <a:defRPr/>
            </a:pP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уководители детского чтения — библиотекари и учителя общеобразовательных учреждений.</a:t>
            </a:r>
          </a:p>
        </p:txBody>
      </p:sp>
      <p:pic>
        <p:nvPicPr>
          <p:cNvPr id="2" name="Рисунок 6" descr="Изображение выглядит как человек, держит, внутренний, коробка&#10;&#10;Автоматически созданное описание">
            <a:extLst>
              <a:ext uri="{FF2B5EF4-FFF2-40B4-BE49-F238E27FC236}">
                <a16:creationId xmlns:a16="http://schemas.microsoft.com/office/drawing/2014/main" id="{E8A7B64A-EA5D-4CDE-ACB3-A067DA261D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1419622"/>
            <a:ext cx="2304256" cy="3072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dissolve/>
  </p:transition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Номер слайда 5">
            <a:extLst>
              <a:ext uri="{FF2B5EF4-FFF2-40B4-BE49-F238E27FC236}">
                <a16:creationId xmlns:a16="http://schemas.microsoft.com/office/drawing/2014/main" id="{AB7EF6C3-E023-4153-827D-C60CBAB2C83A}"/>
              </a:ext>
            </a:extLst>
          </p:cNvPr>
          <p:cNvSpPr>
            <a:spLocks noGrp="1" noChangeArrowheads="1"/>
          </p:cNvSpPr>
          <p:nvPr>
            <p:ph type="sldNum" sz="quarter" idx="16"/>
          </p:nvPr>
        </p:nvSpPr>
        <p:spPr bwMode="auto">
          <a:xfrm>
            <a:off x="8582025" y="4767263"/>
            <a:ext cx="561975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213" indent="-21431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250" indent="-171450">
              <a:spcBef>
                <a:spcPct val="200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0150" indent="-171450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3050" indent="-171450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9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8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7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46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1B3D12E-9135-4CC3-ACF4-671C36FC1A9F}" type="slidenum">
              <a:rPr lang="ru-RU" altLang="ru-RU" sz="90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82</a:t>
            </a:fld>
            <a:endParaRPr lang="ru-RU" altLang="ru-RU" sz="900">
              <a:solidFill>
                <a:srgbClr val="898989"/>
              </a:solidFill>
            </a:endParaRPr>
          </a:p>
        </p:txBody>
      </p:sp>
      <p:sp>
        <p:nvSpPr>
          <p:cNvPr id="77827" name="Заголовок 2">
            <a:extLst>
              <a:ext uri="{FF2B5EF4-FFF2-40B4-BE49-F238E27FC236}">
                <a16:creationId xmlns:a16="http://schemas.microsoft.com/office/drawing/2014/main" id="{E3D8AF05-96C8-4B51-89A0-1DDFD91397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156" y="51198"/>
            <a:ext cx="8929688" cy="648890"/>
          </a:xfrm>
        </p:spPr>
        <p:txBody>
          <a:bodyPr/>
          <a:lstStyle/>
          <a:p>
            <a:r>
              <a:rPr lang="ru-RU" altLang="ru-RU" sz="24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 сказок о книге и чтении</a:t>
            </a:r>
          </a:p>
        </p:txBody>
      </p:sp>
      <p:pic>
        <p:nvPicPr>
          <p:cNvPr id="77828" name="Picture 2">
            <a:extLst>
              <a:ext uri="{FF2B5EF4-FFF2-40B4-BE49-F238E27FC236}">
                <a16:creationId xmlns:a16="http://schemas.microsoft.com/office/drawing/2014/main" id="{79CC8955-EB1C-4E1E-AAF0-BEC44A863B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5851" y="2571751"/>
            <a:ext cx="1556147" cy="2250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7439097-4C5A-4305-ADC6-31DC7F2FBDF6}"/>
              </a:ext>
            </a:extLst>
          </p:cNvPr>
          <p:cNvSpPr/>
          <p:nvPr/>
        </p:nvSpPr>
        <p:spPr>
          <a:xfrm>
            <a:off x="310753" y="1113235"/>
            <a:ext cx="4585097" cy="267765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tx2"/>
                </a:solidFill>
                <a:latin typeface="+mj-lt"/>
              </a:rPr>
              <a:t>Методические разработки:</a:t>
            </a:r>
          </a:p>
          <a:p>
            <a:pPr>
              <a:defRPr/>
            </a:pPr>
            <a:endParaRPr lang="ru-RU" sz="600" b="1" dirty="0">
              <a:solidFill>
                <a:schemeClr val="tx2"/>
              </a:solidFill>
              <a:latin typeface="+mj-lt"/>
            </a:endParaRPr>
          </a:p>
          <a:p>
            <a:pPr marL="257175" indent="-257175">
              <a:buFont typeface="Arial" panose="020B0604020202020204" pitchFamily="34" charset="0"/>
              <a:buChar char="•"/>
              <a:defRPr/>
            </a:pPr>
            <a:r>
              <a:rPr lang="ru-RU" dirty="0">
                <a:latin typeface="+mj-lt"/>
              </a:rPr>
              <a:t>Рекомендуемый список сказок о книге и чтении.</a:t>
            </a:r>
          </a:p>
          <a:p>
            <a:pPr marL="257175" indent="-257175">
              <a:buFont typeface="Arial" panose="020B0604020202020204" pitchFamily="34" charset="0"/>
              <a:buChar char="•"/>
              <a:defRPr/>
            </a:pPr>
            <a:r>
              <a:rPr lang="ru-RU" dirty="0">
                <a:latin typeface="+mj-lt"/>
              </a:rPr>
              <a:t>Полный текст рекомендуемых сказок о книге и чтении.</a:t>
            </a:r>
          </a:p>
          <a:p>
            <a:pPr marL="257175" indent="-257175">
              <a:buFont typeface="Arial" panose="020B0604020202020204" pitchFamily="34" charset="0"/>
              <a:buChar char="•"/>
              <a:defRPr/>
            </a:pPr>
            <a:r>
              <a:rPr lang="ru-RU" dirty="0">
                <a:latin typeface="+mj-lt"/>
              </a:rPr>
              <a:t>Методически подсказки: Ю.Н. Столяров «Сказка - дверь в большой мир». Советы взрослым о воспитании у детей культуры чтения сказок.</a:t>
            </a:r>
          </a:p>
        </p:txBody>
      </p:sp>
      <p:pic>
        <p:nvPicPr>
          <p:cNvPr id="77830" name="Рисунок 4" descr="Изображение выглядит как трава, знак&#10;&#10;Автоматически созданное описание">
            <a:extLst>
              <a:ext uri="{FF2B5EF4-FFF2-40B4-BE49-F238E27FC236}">
                <a16:creationId xmlns:a16="http://schemas.microsoft.com/office/drawing/2014/main" id="{324588A7-729C-4DA3-A225-7382EB3AD5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5106" y="720329"/>
            <a:ext cx="1719263" cy="226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31" name="Рисунок 7" descr="Изображение выглядит как еда&#10;&#10;Автоматически созданное описание">
            <a:extLst>
              <a:ext uri="{FF2B5EF4-FFF2-40B4-BE49-F238E27FC236}">
                <a16:creationId xmlns:a16="http://schemas.microsoft.com/office/drawing/2014/main" id="{3FD76954-3C60-4D4B-94DC-233E9EC7BF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0881" y="2531269"/>
            <a:ext cx="1771650" cy="22681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dissolve/>
  </p:transition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Номер слайда 5">
            <a:extLst>
              <a:ext uri="{FF2B5EF4-FFF2-40B4-BE49-F238E27FC236}">
                <a16:creationId xmlns:a16="http://schemas.microsoft.com/office/drawing/2014/main" id="{265DED0E-464D-4501-92F6-31537920B60F}"/>
              </a:ext>
            </a:extLst>
          </p:cNvPr>
          <p:cNvSpPr>
            <a:spLocks noGrp="1" noChangeArrowheads="1"/>
          </p:cNvSpPr>
          <p:nvPr>
            <p:ph type="sldNum" sz="quarter" idx="16"/>
          </p:nvPr>
        </p:nvSpPr>
        <p:spPr bwMode="auto">
          <a:xfrm>
            <a:off x="8582025" y="4767263"/>
            <a:ext cx="561975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213" indent="-21431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250" indent="-171450">
              <a:spcBef>
                <a:spcPct val="200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0150" indent="-171450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3050" indent="-171450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9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8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7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46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852EE7FE-9B1B-44F5-8691-50DED855D772}" type="slidenum">
              <a:rPr lang="ru-RU" altLang="ru-RU" sz="90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83</a:t>
            </a:fld>
            <a:endParaRPr lang="ru-RU" altLang="ru-RU" sz="900">
              <a:solidFill>
                <a:srgbClr val="898989"/>
              </a:solidFill>
            </a:endParaRPr>
          </a:p>
        </p:txBody>
      </p:sp>
      <p:sp>
        <p:nvSpPr>
          <p:cNvPr id="79875" name="Заголовок 2">
            <a:extLst>
              <a:ext uri="{FF2B5EF4-FFF2-40B4-BE49-F238E27FC236}">
                <a16:creationId xmlns:a16="http://schemas.microsoft.com/office/drawing/2014/main" id="{FE05D806-D1E7-4CF4-A22F-791A120F7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156" y="51198"/>
            <a:ext cx="8929688" cy="648890"/>
          </a:xfrm>
        </p:spPr>
        <p:txBody>
          <a:bodyPr/>
          <a:lstStyle/>
          <a:p>
            <a:r>
              <a:rPr lang="ru-RU" alt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 сказок о книге и чтении</a:t>
            </a:r>
          </a:p>
        </p:txBody>
      </p:sp>
      <p:sp>
        <p:nvSpPr>
          <p:cNvPr id="79876" name="Прямоугольник 3">
            <a:extLst>
              <a:ext uri="{FF2B5EF4-FFF2-40B4-BE49-F238E27FC236}">
                <a16:creationId xmlns:a16="http://schemas.microsoft.com/office/drawing/2014/main" id="{0B1C9D73-65F9-49AB-95E6-F2A2D131FA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13485" y="897731"/>
            <a:ext cx="5485209" cy="4247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В одном из писем в редакцию «Школьной библиотеки» автор —</a:t>
            </a:r>
            <a:r>
              <a:rPr lang="en-US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учитель</a:t>
            </a:r>
            <a:r>
              <a:rPr lang="en-US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ловесник (причём специализировалась она на русском фольклоре) и одновременно школьный библиотекарь — сообщала, что за</a:t>
            </a:r>
            <a:r>
              <a:rPr lang="en-US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вой 27</a:t>
            </a:r>
            <a:r>
              <a:rPr lang="en-US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летний трудовой стаж в каких она только конкурсах ни участвовала, каких только конкурсов ни проводила сама. Но чтобы в сказках</a:t>
            </a:r>
            <a:r>
              <a:rPr lang="en-US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хоть каким</a:t>
            </a:r>
            <a:r>
              <a:rPr lang="en-US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либо образом была отражена тема чтения, присутствовал</a:t>
            </a:r>
            <a:r>
              <a:rPr lang="en-US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браз письменного источника, — увольте, уж она-то правду знает. С</a:t>
            </a:r>
            <a:r>
              <a:rPr lang="en-US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большим недоверием она сняла с полки первый попавшийся сборник</a:t>
            </a:r>
            <a:r>
              <a:rPr lang="en-US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казок, нашла в нём</a:t>
            </a:r>
            <a:r>
              <a:rPr lang="en-US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рекомендованную сказку … и ни днём, ни ночью</a:t>
            </a:r>
            <a:r>
              <a:rPr lang="en-US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не могла оторваться от перечитывания сказок!</a:t>
            </a:r>
          </a:p>
        </p:txBody>
      </p:sp>
      <p:pic>
        <p:nvPicPr>
          <p:cNvPr id="79877" name="Рисунок 4" descr="Изображение выглядит как трава, знак&#10;&#10;Автоматически созданное описание">
            <a:extLst>
              <a:ext uri="{FF2B5EF4-FFF2-40B4-BE49-F238E27FC236}">
                <a16:creationId xmlns:a16="http://schemas.microsoft.com/office/drawing/2014/main" id="{32359737-6239-4E4E-9EE8-F84E39CCA7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91" y="789385"/>
            <a:ext cx="1719263" cy="2268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8" name="Рисунок 6" descr="Изображение выглядит как еда&#10;&#10;Автоматически созданное описание">
            <a:extLst>
              <a:ext uri="{FF2B5EF4-FFF2-40B4-BE49-F238E27FC236}">
                <a16:creationId xmlns:a16="http://schemas.microsoft.com/office/drawing/2014/main" id="{85C67804-DD52-4666-BC42-D885CECDE3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766" y="2600325"/>
            <a:ext cx="1771650" cy="22681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dissolve/>
  </p:transition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84</a:t>
            </a:fld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2D252B-DBDF-4689-AE73-CD7A25FC11B6}"/>
              </a:ext>
            </a:extLst>
          </p:cNvPr>
          <p:cNvSpPr txBox="1"/>
          <p:nvPr/>
        </p:nvSpPr>
        <p:spPr>
          <a:xfrm>
            <a:off x="467544" y="172805"/>
            <a:ext cx="7344816" cy="47064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000" b="1" dirty="0">
                <a:solidFill>
                  <a:srgbClr val="0070C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сероссийский конкурс «Педагог-библиотекарь года России»</a:t>
            </a:r>
            <a:endParaRPr lang="ru-RU" sz="1600" dirty="0">
              <a:solidFill>
                <a:srgbClr val="0070C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нкурс направлен на развитие творческой деятельности педагогических и библиотечных работников  образовательных организаций по информационно-методическому сопровождению содержания образования, поддержку новых технологий в организации библиотечного и  образовательного процесса, рост профессионального мастерства библиотечных и  педагогических работников, утверждение приоритетов образования в обществе. </a:t>
            </a:r>
            <a:endParaRPr lang="ru-RU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нкурс проводится с целью повышения статуса библиотечных работников  образовательных организаций.</a:t>
            </a:r>
            <a:endParaRPr lang="ru-RU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Задачами </a:t>
            </a: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нкурса «Педагог-библиотекарь года России» являются:</a:t>
            </a:r>
            <a:endParaRPr lang="ru-RU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ыявление и распространение инновационного опыта работы библиотечных работников  образовательных организаций;</a:t>
            </a:r>
            <a:endParaRPr lang="ru-RU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ыявление культурных и творческих инициатив Российского  библиотечного сообщества;</a:t>
            </a:r>
            <a:endParaRPr lang="ru-RU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озрождение лучших отечественных традиций культуры чтения в библиотеке общеобразовательной организации – первой общественной библиотеке в жизни ребенка;</a:t>
            </a:r>
            <a:endParaRPr lang="ru-RU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ивлечение внимания широкой общественности к проблемам и перспективам развития  библиотек  образовательных организациях;</a:t>
            </a:r>
            <a:endParaRPr lang="ru-RU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сширение диапазона профессионального общения.</a:t>
            </a:r>
            <a:endParaRPr lang="ru-RU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2BEC018C-8600-4CF4-8520-33D4912F8D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27534"/>
            <a:ext cx="986532" cy="122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842538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85</a:t>
            </a:fld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2D88A4-EDD2-42D9-BB79-7231F7257A33}"/>
              </a:ext>
            </a:extLst>
          </p:cNvPr>
          <p:cNvSpPr txBox="1"/>
          <p:nvPr/>
        </p:nvSpPr>
        <p:spPr>
          <a:xfrm>
            <a:off x="254540" y="35220"/>
            <a:ext cx="864095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400" b="0" i="0" dirty="0">
                <a:solidFill>
                  <a:srgbClr val="4F64CA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Презентация проекта </a:t>
            </a:r>
            <a:br>
              <a:rPr lang="ru-RU" sz="2400" b="0" i="0" dirty="0">
                <a:solidFill>
                  <a:srgbClr val="4F64CA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b="0" i="0" dirty="0">
                <a:solidFill>
                  <a:srgbClr val="4F64CA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400" b="0" i="0" dirty="0" err="1">
                <a:solidFill>
                  <a:srgbClr val="4F64CA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Киноуроки</a:t>
            </a:r>
            <a:r>
              <a:rPr lang="ru-RU" sz="2400" b="0" i="0" dirty="0">
                <a:solidFill>
                  <a:srgbClr val="4F64CA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в школах России и мира»</a:t>
            </a:r>
          </a:p>
        </p:txBody>
      </p:sp>
      <p:pic>
        <p:nvPicPr>
          <p:cNvPr id="4" name="Рисунок 3" descr="Изображение выглядит как человек, стоит, группа, в позе&#10;&#10;Автоматически созданное описание">
            <a:extLst>
              <a:ext uri="{FF2B5EF4-FFF2-40B4-BE49-F238E27FC236}">
                <a16:creationId xmlns:a16="http://schemas.microsoft.com/office/drawing/2014/main" id="{08ECF3A3-E52F-4111-8CCD-C140E30B79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874273"/>
            <a:ext cx="5373216" cy="4029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492277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86</a:t>
            </a:fld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0F20F93-1ED4-412E-89E6-EF9427828589}"/>
              </a:ext>
            </a:extLst>
          </p:cNvPr>
          <p:cNvSpPr txBox="1"/>
          <p:nvPr/>
        </p:nvSpPr>
        <p:spPr>
          <a:xfrm>
            <a:off x="395536" y="260901"/>
            <a:ext cx="8532948" cy="45063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500"/>
              </a:lnSpc>
              <a:spcAft>
                <a:spcPts val="1000"/>
              </a:spcAft>
            </a:pPr>
            <a:r>
              <a:rPr lang="ru-RU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орандум о Культуре развития Жизни</a:t>
            </a:r>
            <a:endParaRPr lang="ru-RU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ru-RU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, поддерживающие цели и задачи данного Меморандума;</a:t>
            </a:r>
            <a:br>
              <a:rPr lang="ru-RU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, нижеподписавшиеся под этим открытым Меморандумом, каждый человек и гражданин, каждая коммерческая и некоммерческая организация и объединение, каждый государственный орган, каждая международная правительственная и неправительственная организация, стремясь укреплять духовно-нравственные основы жизни человека, семьи, общества, государства и международного сообщества в интересах сохранения и развития жизни через формирование и поддержку Культуры развития Жизни, желая иметь объективные критерии оценки тех или иных творений, произведений, действий и поступков в области культуры, договорились о нижеследующем:</a:t>
            </a:r>
            <a:br>
              <a:rPr lang="ru-RU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br>
              <a:rPr lang="ru-RU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ультура – это среда, созидающая и формирующая Человека.</a:t>
            </a:r>
            <a:br>
              <a:rPr lang="ru-RU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Человек становится отражением и воплощением того пространства материальной и нематериальной культуры, в котором он рождается, пребывает и развивается.</a:t>
            </a:r>
            <a:br>
              <a:rPr lang="ru-RU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ультура делится на созидающую и разрушающую.</a:t>
            </a:r>
          </a:p>
          <a:p>
            <a:endParaRPr lang="ru-RU" sz="14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зидающая – та, которая формирует Человека-творца. Закладывает в основу его личности культурно-генетические коды, закреплённые в антропогенезе. Такая культура вмещает в себя весь положительный эволюционный опыт, знания и мудрость предшествующих поколений людей, сообществ, народов, государств и человечества в целом.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109134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5E690D-3126-4349-B621-8F65516BF1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82025" y="4767263"/>
            <a:ext cx="561975" cy="273844"/>
          </a:xfrm>
        </p:spPr>
        <p:txBody>
          <a:bodyPr/>
          <a:lstStyle/>
          <a:p>
            <a:fld id="{6C2D38BD-AC05-45EF-A3CD-5A738F89286B}" type="slidenum">
              <a:rPr lang="ru-RU" smtClean="0"/>
              <a:t>87</a:t>
            </a:fld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36D83B7-934B-4265-8048-7D4973F734A7}"/>
              </a:ext>
            </a:extLst>
          </p:cNvPr>
          <p:cNvSpPr txBox="1"/>
          <p:nvPr/>
        </p:nvSpPr>
        <p:spPr>
          <a:xfrm>
            <a:off x="467544" y="40353"/>
            <a:ext cx="8640959" cy="4863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именительно к России созидательна та культура, которая отражает во всех гранях исторический путь развития русской державности и государственности. Содержит в себе всё неизмеримое богатство духовной, религиозной, научной, творческой, художественной, литературной, зодческой, архитектурной, ремесленной, технической, технологической и многих других сфер жизни и деятельности общества.</a:t>
            </a:r>
            <a:b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Такую культуру мы называем Культура развития Жизни.</a:t>
            </a:r>
          </a:p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еятельность в сфере культуры и искусства, вызывающая в человеке высокие идеалы личного и общественного и побуждающая к скорейшей реализации этих идеалов на практике, является созидательной, а значит, полезной.</a:t>
            </a:r>
          </a:p>
          <a:p>
            <a:b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ъективным критерием оценки тех или иных творений, произведений, действий и поступков, формирующих и характеризующих человека, с позиции Культуры развития Жизни, является их соответствие качествам, проявленным в таких высоких идеалах, как: Любовь, Добро, Дружба, Трудолюбие, Вежливость, Героизм, Счастье, Радость за другого, Патриотизм, и др.</a:t>
            </a:r>
          </a:p>
          <a:p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морандум создан 22 апреля 2020 года и имеет открытый формат. Каждый желающий может подписать его путём своего волеизъявления, написав об этом на адрес: </a:t>
            </a:r>
            <a:r>
              <a:rPr lang="ru-RU" sz="1400" u="sng" dirty="0">
                <a:solidFill>
                  <a:srgbClr val="818EB3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2"/>
              </a:rPr>
              <a:t>info@cosmatica.org</a:t>
            </a:r>
            <a:r>
              <a:rPr lang="ru-RU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и </a:t>
            </a:r>
            <a:r>
              <a:rPr lang="ru-RU" sz="1400" u="sng" dirty="0">
                <a:solidFill>
                  <a:srgbClr val="818EB3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3"/>
              </a:rPr>
              <a:t>info@kinouroki.ru</a:t>
            </a:r>
            <a:r>
              <a:rPr lang="ru-RU" sz="1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или иным способом связавшись с представителями инициаторов Меморандума о Культуре развития Жизни МОО «Русское Космическое Общество» и АНО ЦРИТС «ИНТЕЛРОСТ».  </a:t>
            </a:r>
            <a:r>
              <a:rPr lang="en-US" sz="1400" u="sng" dirty="0">
                <a:solidFill>
                  <a:srgbClr val="818EB3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4"/>
              </a:rPr>
              <a:t>Memorandum on the Culture for Life Development.pdf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7695157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98415FC-FC93-45D8-AC6D-1D7C245542F0}"/>
              </a:ext>
            </a:extLst>
          </p:cNvPr>
          <p:cNvSpPr txBox="1"/>
          <p:nvPr/>
        </p:nvSpPr>
        <p:spPr>
          <a:xfrm>
            <a:off x="521494" y="2347536"/>
            <a:ext cx="8108156" cy="584775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Расширение образовательного пространства школьной библиотеки,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её облачная инфраструктура</a:t>
            </a:r>
          </a:p>
        </p:txBody>
      </p:sp>
      <p:pic>
        <p:nvPicPr>
          <p:cNvPr id="89093" name="Picture 2">
            <a:extLst>
              <a:ext uri="{FF2B5EF4-FFF2-40B4-BE49-F238E27FC236}">
                <a16:creationId xmlns:a16="http://schemas.microsoft.com/office/drawing/2014/main" id="{2C1937BC-AC25-41FA-83FA-2C9B45A11D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5891" y="3319087"/>
            <a:ext cx="1209675" cy="7774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C2D2C9A-99C4-4E16-B578-AEDB0C695E41}"/>
              </a:ext>
            </a:extLst>
          </p:cNvPr>
          <p:cNvSpPr txBox="1"/>
          <p:nvPr/>
        </p:nvSpPr>
        <p:spPr>
          <a:xfrm>
            <a:off x="521494" y="2923079"/>
            <a:ext cx="2780110" cy="1600438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Информационный массив:</a:t>
            </a:r>
          </a:p>
          <a:p>
            <a:pPr marL="214313" indent="-214313">
              <a:buFont typeface="Arial" pitchFamily="34" charset="0"/>
              <a:buChar char="•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электронный школьный каталог,</a:t>
            </a:r>
          </a:p>
          <a:p>
            <a:pPr marL="214313" indent="-214313">
              <a:buFont typeface="Arial" pitchFamily="34" charset="0"/>
              <a:buChar char="•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электронные версии журналов,</a:t>
            </a:r>
          </a:p>
          <a:p>
            <a:pPr marL="214313" indent="-214313">
              <a:buFont typeface="Arial" pitchFamily="34" charset="0"/>
              <a:buChar char="•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офессиональные издания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09A64D-D8B8-4F42-B781-57AD765CA5A0}"/>
              </a:ext>
            </a:extLst>
          </p:cNvPr>
          <p:cNvSpPr txBox="1"/>
          <p:nvPr/>
        </p:nvSpPr>
        <p:spPr>
          <a:xfrm>
            <a:off x="4572000" y="2923079"/>
            <a:ext cx="4057650" cy="162736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ru-RU" sz="1425" b="1" dirty="0">
                <a:latin typeface="Arial" panose="020B0604020202020204" pitchFamily="34" charset="0"/>
                <a:cs typeface="Arial" panose="020B0604020202020204" pitchFamily="34" charset="0"/>
              </a:rPr>
              <a:t>Интернет-площадка проекта «Читающая школа»:</a:t>
            </a:r>
          </a:p>
          <a:p>
            <a:pPr marL="214313" indent="-214313">
              <a:buFont typeface="Arial" pitchFamily="34" charset="0"/>
              <a:buChar char="•"/>
              <a:defRPr/>
            </a:pPr>
            <a:r>
              <a:rPr lang="ru-RU" sz="1425" dirty="0">
                <a:latin typeface="Arial" panose="020B0604020202020204" pitchFamily="34" charset="0"/>
                <a:cs typeface="Arial" panose="020B0604020202020204" pitchFamily="34" charset="0"/>
              </a:rPr>
              <a:t>отражение профессионального творчества педагогов и библиотекарей,</a:t>
            </a:r>
          </a:p>
          <a:p>
            <a:pPr marL="214313" indent="-214313">
              <a:buFont typeface="Arial" pitchFamily="34" charset="0"/>
              <a:buChar char="•"/>
              <a:defRPr/>
            </a:pPr>
            <a:r>
              <a:rPr lang="ru-RU" sz="1425" dirty="0">
                <a:latin typeface="Arial" panose="020B0604020202020204" pitchFamily="34" charset="0"/>
                <a:cs typeface="Arial" panose="020B0604020202020204" pitchFamily="34" charset="0"/>
              </a:rPr>
              <a:t>систематизация, анализ и обобщение лучших педагогических практик приобщения к чтению школьников.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0D964EEE-64E8-4E08-9371-EB0488517F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359776" y="205690"/>
            <a:ext cx="6424446" cy="1948458"/>
          </a:xfrm>
          <a:prstGeom prst="rect">
            <a:avLst/>
          </a:prstGeom>
          <a:ln>
            <a:noFill/>
          </a:ln>
          <a:effectLst>
            <a:glow rad="228600">
              <a:schemeClr val="accent2">
                <a:satMod val="175000"/>
                <a:alpha val="40000"/>
              </a:schemeClr>
            </a:glow>
            <a:outerShdw dist="35921" dir="2700000" algn="ctr" rotWithShape="0">
              <a:schemeClr val="bg2"/>
            </a:outerShdw>
          </a:effectLst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6C84092-A0F9-44E1-87AB-3CF1B810086A}"/>
              </a:ext>
            </a:extLst>
          </p:cNvPr>
          <p:cNvSpPr/>
          <p:nvPr/>
        </p:nvSpPr>
        <p:spPr>
          <a:xfrm>
            <a:off x="521494" y="4507255"/>
            <a:ext cx="8108156" cy="584775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Умный гид и помощник для специалистов школьных библиотек </a:t>
            </a:r>
          </a:p>
          <a:p>
            <a:pPr algn="ctr">
              <a:defRPr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 актуальным образовательным, библиотечным и развивающим ресурсам</a:t>
            </a:r>
          </a:p>
        </p:txBody>
      </p:sp>
      <p:sp>
        <p:nvSpPr>
          <p:cNvPr id="8" name="Стрелка вниз 2">
            <a:extLst>
              <a:ext uri="{FF2B5EF4-FFF2-40B4-BE49-F238E27FC236}">
                <a16:creationId xmlns:a16="http://schemas.microsoft.com/office/drawing/2014/main" id="{89E973DF-2BD5-45FA-BD4A-3790C102A58B}"/>
              </a:ext>
            </a:extLst>
          </p:cNvPr>
          <p:cNvSpPr/>
          <p:nvPr/>
        </p:nvSpPr>
        <p:spPr>
          <a:xfrm>
            <a:off x="4285059" y="2102401"/>
            <a:ext cx="573881" cy="226219"/>
          </a:xfrm>
          <a:prstGeom prst="downArrow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</p:spTree>
  </p:cSld>
  <p:clrMapOvr>
    <a:masterClrMapping/>
  </p:clrMapOvr>
  <p:transition spd="med">
    <p:dissolve/>
  </p:transition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B232067B-6285-409A-8262-2052E921AF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9712" y="33468"/>
            <a:ext cx="4428492" cy="1343109"/>
          </a:xfrm>
          <a:prstGeom prst="rect">
            <a:avLst/>
          </a:prstGeom>
          <a:ln>
            <a:noFill/>
          </a:ln>
          <a:effectLst>
            <a:glow rad="228600">
              <a:schemeClr val="accent2">
                <a:satMod val="175000"/>
                <a:alpha val="40000"/>
              </a:schemeClr>
            </a:glow>
            <a:outerShdw dist="35921" dir="2700000" algn="ctr" rotWithShape="0">
              <a:schemeClr val="bg2"/>
            </a:outerShdw>
          </a:effectLst>
        </p:spPr>
      </p:pic>
      <p:sp>
        <p:nvSpPr>
          <p:cNvPr id="14339" name="Прямоугольник 1">
            <a:extLst>
              <a:ext uri="{FF2B5EF4-FFF2-40B4-BE49-F238E27FC236}">
                <a16:creationId xmlns:a16="http://schemas.microsoft.com/office/drawing/2014/main" id="{DD1BDA7F-8E56-4220-84B1-2A7E490B79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975" y="1568053"/>
            <a:ext cx="8020050" cy="3293209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Современная библиотека – вход в </a:t>
            </a:r>
            <a:r>
              <a:rPr lang="ru-RU" altLang="ru-RU" sz="1600" b="1" dirty="0">
                <a:latin typeface="Arial" panose="020B0604020202020204" pitchFamily="34" charset="0"/>
              </a:rPr>
              <a:t>ПРОСТРАНСТВО НОВЫХ СМЫСЛОВ</a:t>
            </a:r>
          </a:p>
          <a:p>
            <a:pPr>
              <a:spcBef>
                <a:spcPct val="0"/>
              </a:spcBef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Книжный клуб – клуб мышления</a:t>
            </a:r>
          </a:p>
          <a:p>
            <a:pPr>
              <a:spcBef>
                <a:spcPct val="0"/>
              </a:spcBef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Книжный клуб «Читающий учитель», Движение читающих педагогов</a:t>
            </a:r>
          </a:p>
          <a:p>
            <a:pPr>
              <a:spcBef>
                <a:spcPct val="0"/>
              </a:spcBef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Книжный клуб «Читающая мама»</a:t>
            </a:r>
          </a:p>
          <a:p>
            <a:pPr>
              <a:spcBef>
                <a:spcPct val="0"/>
              </a:spcBef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Конкурс «Самый читающий класс»</a:t>
            </a:r>
          </a:p>
          <a:p>
            <a:pPr>
              <a:spcBef>
                <a:spcPct val="0"/>
              </a:spcBef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Проект «Читающая переменка», книжные зоны не только в библиотеке</a:t>
            </a:r>
          </a:p>
          <a:p>
            <a:pPr>
              <a:spcBef>
                <a:spcPct val="0"/>
              </a:spcBef>
              <a:defRPr/>
            </a:pPr>
            <a:r>
              <a:rPr lang="ru-RU" altLang="ru-RU" sz="1600" dirty="0" err="1">
                <a:latin typeface="Arial" panose="020B0604020202020204" pitchFamily="34" charset="0"/>
              </a:rPr>
              <a:t>Буккросинг</a:t>
            </a:r>
            <a:endParaRPr lang="ru-RU" altLang="ru-RU" sz="160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Всероссийская школьная летопись. Проект «Книга класса» </a:t>
            </a:r>
          </a:p>
          <a:p>
            <a:pPr>
              <a:spcBef>
                <a:spcPct val="0"/>
              </a:spcBef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Проект «Одна школа – одна книга»</a:t>
            </a:r>
          </a:p>
          <a:p>
            <a:pPr>
              <a:spcBef>
                <a:spcPct val="0"/>
              </a:spcBef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Проект «Волонтеры чтения»</a:t>
            </a:r>
          </a:p>
          <a:p>
            <a:pPr>
              <a:spcBef>
                <a:spcPct val="0"/>
              </a:spcBef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Проект «Страна </a:t>
            </a:r>
            <a:r>
              <a:rPr lang="ru-RU" altLang="ru-RU" sz="1600" dirty="0" err="1">
                <a:latin typeface="Arial" panose="020B0604020202020204" pitchFamily="34" charset="0"/>
              </a:rPr>
              <a:t>Читалия</a:t>
            </a:r>
            <a:r>
              <a:rPr lang="ru-RU" altLang="ru-RU" sz="1600" dirty="0">
                <a:latin typeface="Arial" panose="020B0604020202020204" pitchFamily="34" charset="0"/>
              </a:rPr>
              <a:t>». </a:t>
            </a:r>
            <a:r>
              <a:rPr lang="ru-RU" altLang="ru-RU" sz="1600" dirty="0" err="1">
                <a:latin typeface="Arial" panose="020B0604020202020204" pitchFamily="34" charset="0"/>
              </a:rPr>
              <a:t>Буктрейлеры</a:t>
            </a:r>
            <a:endParaRPr lang="ru-RU" altLang="ru-RU" sz="1600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defRPr/>
            </a:pPr>
            <a:r>
              <a:rPr lang="ru-RU" altLang="ru-RU" sz="1600" dirty="0">
                <a:latin typeface="Arial" panose="020B0604020202020204" pitchFamily="34" charset="0"/>
              </a:rPr>
              <a:t>Конкурс лучших плакатов «Говорим правильно» и др.</a:t>
            </a:r>
          </a:p>
          <a:p>
            <a:pPr marL="0" indent="0">
              <a:spcBef>
                <a:spcPct val="0"/>
              </a:spcBef>
              <a:buNone/>
              <a:defRPr/>
            </a:pPr>
            <a:r>
              <a:rPr lang="ru-RU" altLang="ru-RU" sz="1600" b="1" dirty="0">
                <a:latin typeface="Arial" panose="020B0604020202020204" pitchFamily="34" charset="0"/>
              </a:rPr>
              <a:t>Читающая школа - Школа в библиотеке</a:t>
            </a:r>
          </a:p>
        </p:txBody>
      </p:sp>
    </p:spTree>
  </p:cSld>
  <p:clrMapOvr>
    <a:masterClrMapping/>
  </p:clrMapOvr>
  <p:transition spd="med">
    <p:dissolv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F447FD5-8BF0-4C92-856D-578CAC321369}"/>
              </a:ext>
            </a:extLst>
          </p:cNvPr>
          <p:cNvSpPr/>
          <p:nvPr/>
        </p:nvSpPr>
        <p:spPr>
          <a:xfrm>
            <a:off x="0" y="86917"/>
            <a:ext cx="9144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3000" b="1" dirty="0">
                <a:solidFill>
                  <a:srgbClr val="FF0000"/>
                </a:solidFill>
                <a:latin typeface="+mj-lt"/>
              </a:rPr>
              <a:t>Итоги всероссийской читательской акции </a:t>
            </a:r>
            <a:br>
              <a:rPr lang="ru-RU" sz="3000" b="1" dirty="0">
                <a:solidFill>
                  <a:srgbClr val="FF0000"/>
                </a:solidFill>
                <a:latin typeface="+mj-lt"/>
              </a:rPr>
            </a:br>
            <a:r>
              <a:rPr lang="ru-RU" sz="3000" b="1" dirty="0">
                <a:solidFill>
                  <a:srgbClr val="FF0000"/>
                </a:solidFill>
                <a:latin typeface="+mj-lt"/>
              </a:rPr>
              <a:t>«Обнимем ребенка с книгой!»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2FA021-4748-4A74-A3AA-F8D086480191}"/>
              </a:ext>
            </a:extLst>
          </p:cNvPr>
          <p:cNvSpPr txBox="1"/>
          <p:nvPr/>
        </p:nvSpPr>
        <p:spPr>
          <a:xfrm>
            <a:off x="251520" y="1102580"/>
            <a:ext cx="8640960" cy="40164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7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НОМИНАЦИЯ «ФОТО»</a:t>
            </a:r>
          </a:p>
          <a:p>
            <a:pPr algn="l"/>
            <a:endParaRPr lang="ru-RU" sz="17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ru-RU" sz="17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Победитель</a:t>
            </a:r>
            <a:endParaRPr lang="ru-RU" sz="17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7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 Семья Валеевых</a:t>
            </a:r>
            <a: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 – г. Челябинск </a:t>
            </a:r>
            <a:r>
              <a:rPr lang="ru-RU" sz="17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2"/>
              </a:rPr>
              <a:t>https://vk.com/club175109612?w=wall-175109612_545%2Fall&amp;z=photo-175109612_457239722%2Fwall-175109612_545</a:t>
            </a:r>
            <a:endParaRPr lang="ru-RU" sz="17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ru-RU" sz="1700" b="0" i="1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Координаторы участия в акции – педагоги-библиотекари лицея №77 </a:t>
            </a:r>
            <a:r>
              <a:rPr lang="ru-RU" sz="1700" b="0" i="1" dirty="0" err="1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Милянюк</a:t>
            </a:r>
            <a:r>
              <a:rPr lang="ru-RU" sz="1700" b="0" i="1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С.Г. и </a:t>
            </a:r>
            <a:r>
              <a:rPr lang="ru-RU" sz="1700" b="0" i="1" dirty="0" err="1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Костицина</a:t>
            </a:r>
            <a:r>
              <a:rPr lang="ru-RU" sz="1700" b="0" i="1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Н.М.</a:t>
            </a:r>
          </a:p>
          <a:p>
            <a:pPr algn="l"/>
            <a:r>
              <a:rPr lang="ru-RU" sz="800" dirty="0"/>
              <a:t> </a:t>
            </a:r>
          </a:p>
          <a:p>
            <a:pPr algn="l"/>
            <a:r>
              <a:rPr lang="ru-RU" sz="17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Лауреаты первой степени:</a:t>
            </a:r>
            <a:endParaRPr lang="ru-RU" sz="17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7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 Трофимова Дарья</a:t>
            </a:r>
            <a: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 - г. Ленинск-Кузнецкий Кемеровской области </a:t>
            </a:r>
            <a:r>
              <a:rPr lang="ru-RU" sz="17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3"/>
              </a:rPr>
              <a:t>https://ok.ru/profile/461446829532/album/876462022108/896587035356</a:t>
            </a:r>
            <a:endParaRPr lang="ru-RU" sz="17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ru-RU" sz="1700" b="0" i="1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Организатор и координатор акции – педагог-организатор Самойлова А. В.</a:t>
            </a:r>
            <a:endParaRPr lang="ru-RU" sz="17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1700" b="1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  Семья Кожедуб </a:t>
            </a:r>
            <a:r>
              <a:rPr lang="ru-RU" sz="1700" b="0" i="0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– г. Ленинск-Кузнецкий Кемеровской области </a:t>
            </a:r>
            <a:r>
              <a:rPr lang="ru-RU" sz="1700" b="0" i="0" u="none" strike="noStrike" dirty="0">
                <a:solidFill>
                  <a:srgbClr val="004228"/>
                </a:solidFill>
                <a:effectLst/>
                <a:latin typeface="Arial" panose="020B0604020202020204" pitchFamily="34" charset="0"/>
                <a:hlinkClick r:id="rId4"/>
              </a:rPr>
              <a:t>https://www.instagram.com/p/CAwdwSwHhDk/?igshid=vdt0416lvokt</a:t>
            </a:r>
            <a:endParaRPr lang="ru-RU" sz="17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ru-RU" sz="1700" b="0" i="1" dirty="0">
                <a:solidFill>
                  <a:srgbClr val="4C4C4C"/>
                </a:solidFill>
                <a:effectLst/>
                <a:latin typeface="Arial" panose="020B0604020202020204" pitchFamily="34" charset="0"/>
              </a:rPr>
              <a:t>Организатор и координатор акции – педагог-организатор Самойлова А. В.</a:t>
            </a:r>
            <a:endParaRPr lang="ru-RU" sz="1700" b="0" i="0" dirty="0">
              <a:solidFill>
                <a:srgbClr val="4C4C4C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852421"/>
      </p:ext>
    </p:extLst>
  </p:cSld>
  <p:clrMapOvr>
    <a:masterClrMapping/>
  </p:clrMapOvr>
  <p:transition spd="slow" advClick="0" advTm="16218">
    <p:wheel/>
  </p:transition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2">
            <a:extLst>
              <a:ext uri="{FF2B5EF4-FFF2-40B4-BE49-F238E27FC236}">
                <a16:creationId xmlns:a16="http://schemas.microsoft.com/office/drawing/2014/main" id="{568CDF28-1C3D-4691-8DE0-17C2A0DF0F52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1143000" y="-167305"/>
            <a:ext cx="6344841" cy="300082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ru-RU" altLang="ru-RU" sz="1350">
              <a:latin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2881E28-1355-4186-ADB6-DCBF35C335F6}"/>
              </a:ext>
            </a:extLst>
          </p:cNvPr>
          <p:cNvSpPr/>
          <p:nvPr/>
        </p:nvSpPr>
        <p:spPr>
          <a:xfrm>
            <a:off x="251520" y="483518"/>
            <a:ext cx="5202684" cy="15585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defRPr/>
            </a:pPr>
            <a:r>
              <a:rPr lang="ru-RU" sz="135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endParaRPr lang="ru-RU" sz="105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15000"/>
              </a:lnSpc>
              <a:defRPr/>
            </a:pPr>
            <a:r>
              <a:rPr lang="ru-RU" sz="30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кола волонтеров чтения</a:t>
            </a:r>
            <a:endParaRPr lang="ru-RU" sz="30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15000"/>
              </a:lnSpc>
              <a:defRPr/>
            </a:pPr>
            <a:r>
              <a:rPr lang="ru-RU" sz="135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рант Президента Российской Федерации на развитие гражданского общества предоставлен Фондом президентских грантов</a:t>
            </a:r>
            <a:endParaRPr lang="ru-RU" sz="105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6020" name="Рисунок 8">
            <a:extLst>
              <a:ext uri="{FF2B5EF4-FFF2-40B4-BE49-F238E27FC236}">
                <a16:creationId xmlns:a16="http://schemas.microsoft.com/office/drawing/2014/main" id="{941C2B78-808E-4CDB-A743-D9C62F49FB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916" y="2895601"/>
            <a:ext cx="4313634" cy="1537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6021" name="Прямоугольник 1">
            <a:extLst>
              <a:ext uri="{FF2B5EF4-FFF2-40B4-BE49-F238E27FC236}">
                <a16:creationId xmlns:a16="http://schemas.microsoft.com/office/drawing/2014/main" id="{884142BD-CBC7-45FE-96F0-C3BCC37E72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3550" y="2895600"/>
            <a:ext cx="2808685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35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лактионова Татьяна Гелиевна,</a:t>
            </a:r>
            <a:r>
              <a:rPr lang="ru-RU" altLang="ru-RU" sz="13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br>
              <a:rPr lang="ru-RU" altLang="ru-RU" sz="13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3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ктор педагогических наук, профессор Института педагогики Санкт-Петербургского государственного университета, эксперт Центра русского языка и славистики РАО </a:t>
            </a:r>
            <a:br>
              <a:rPr lang="ru-RU" altLang="ru-RU" sz="13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altLang="ru-RU" sz="135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6022" name="Picture 2">
            <a:extLst>
              <a:ext uri="{FF2B5EF4-FFF2-40B4-BE49-F238E27FC236}">
                <a16:creationId xmlns:a16="http://schemas.microsoft.com/office/drawing/2014/main" id="{9B8313BC-3593-4BE2-8549-7DACC27DB0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8319" y="266700"/>
            <a:ext cx="2483644" cy="2483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zoom dir="in"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>
            <a:extLst>
              <a:ext uri="{FF2B5EF4-FFF2-40B4-BE49-F238E27FC236}">
                <a16:creationId xmlns:a16="http://schemas.microsoft.com/office/drawing/2014/main" id="{D28353F1-8E70-4616-9E58-25F249481523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1888331" y="-167305"/>
            <a:ext cx="6344841" cy="300082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ru-RU" altLang="ru-RU" sz="1350">
              <a:latin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154A4E2-23BA-4086-962C-D18C348670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7672" y="1000125"/>
            <a:ext cx="2833688" cy="394811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8C4E10F-45E5-4510-B5AA-497A44889E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5410" y="195263"/>
            <a:ext cx="3024188" cy="42886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7045" name="Рисунок 10">
            <a:extLst>
              <a:ext uri="{FF2B5EF4-FFF2-40B4-BE49-F238E27FC236}">
                <a16:creationId xmlns:a16="http://schemas.microsoft.com/office/drawing/2014/main" id="{4ED4C6D2-F851-4036-B616-72E3071E07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44" y="195263"/>
            <a:ext cx="3358754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zoom dir="in"/>
  </p:transition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3" name="Номер слайда 5">
            <a:extLst>
              <a:ext uri="{FF2B5EF4-FFF2-40B4-BE49-F238E27FC236}">
                <a16:creationId xmlns:a16="http://schemas.microsoft.com/office/drawing/2014/main" id="{49F7134A-B853-4FD0-ADFC-1DE2B690E78C}"/>
              </a:ext>
            </a:extLst>
          </p:cNvPr>
          <p:cNvSpPr>
            <a:spLocks noGrp="1" noChangeArrowheads="1"/>
          </p:cNvSpPr>
          <p:nvPr>
            <p:ph type="sldNum" sz="quarter" idx="16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17910" indent="-160735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642938" indent="-128588">
              <a:spcBef>
                <a:spcPct val="200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900113" indent="-128588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157288" indent="-128588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500188" indent="-1285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843088" indent="-1285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185988" indent="-1285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528888" indent="-12858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E0D3B3CA-4F1D-4A23-8E2C-AEBCDDDCA23C}" type="slidenum">
              <a:rPr lang="ru-RU" altLang="ru-RU" sz="675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92</a:t>
            </a:fld>
            <a:endParaRPr lang="ru-RU" altLang="ru-RU" sz="675">
              <a:solidFill>
                <a:srgbClr val="898989"/>
              </a:solidFill>
            </a:endParaRPr>
          </a:p>
        </p:txBody>
      </p:sp>
      <p:sp>
        <p:nvSpPr>
          <p:cNvPr id="66564" name="Rectangle 1">
            <a:extLst>
              <a:ext uri="{FF2B5EF4-FFF2-40B4-BE49-F238E27FC236}">
                <a16:creationId xmlns:a16="http://schemas.microsoft.com/office/drawing/2014/main" id="{34D6379D-FFA9-4D07-AE30-FFA547B75E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5816" y="379944"/>
            <a:ext cx="5976664" cy="4370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2400" b="1" dirty="0">
                <a:solidFill>
                  <a:srgbClr val="FF0000"/>
                </a:solidFill>
              </a:rPr>
              <a:t>«Уроки материнского чтения». </a:t>
            </a:r>
            <a:r>
              <a:rPr lang="ru-RU" altLang="ru-RU" sz="1800" b="1" dirty="0">
                <a:solidFill>
                  <a:srgbClr val="FF0000"/>
                </a:solidFill>
              </a:rPr>
              <a:t>И.И. Тихомирова </a:t>
            </a:r>
            <a:r>
              <a:rPr lang="ru-RU" altLang="ru-RU" sz="1800" dirty="0">
                <a:solidFill>
                  <a:srgbClr val="FF0000"/>
                </a:solidFill>
              </a:rPr>
              <a:t>Учебно-методическое пособие по реализации проекта РШБА «Читающая мама – читающая страна»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400" dirty="0"/>
              <a:t>Цель пособия – возбудить и усилить у матерей интерес к вопросам детского чтения и мобилизовать их на включение в этот процесс. Для этого автором специально создана система читательского всеобуча матерей как руководителей детского чтения в семье, пробуждающего у ребёнка интерес к этому роду эмоционально-интеллектуальных занятий. Автор опирается на традиции материнского чтения, уходящие корнями в далёкое прошлое и начинающиеся колыбельными песнями, продолжающиеся с использованием лучших образцов художественной литературы, написанных для разных возрастных групп детей, способных воспринимать и реагировать своим воображением на интонацию и содержание материнского чтения.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400" dirty="0"/>
              <a:t>Пособие снабжено вопросами к читающим мамам для обдумывания и самопроверки усвоения предлагаемого в пособии материала. В конце пособия даются практические советы читающим мамам, предлагается словарик терминов, используемых в сфере руководства детским чтением, скомпонован материал для самообразования читающих мам в области духовно-нравственного развития детей средствами книги и чтения.</a:t>
            </a:r>
            <a:endParaRPr lang="en-US" altLang="ru-RU" sz="1400" dirty="0"/>
          </a:p>
        </p:txBody>
      </p:sp>
      <p:pic>
        <p:nvPicPr>
          <p:cNvPr id="66565" name="Рисунок 2" descr="Изображение выглядит как знак, устройство, держит&#10;&#10;Автоматически созданное описание">
            <a:extLst>
              <a:ext uri="{FF2B5EF4-FFF2-40B4-BE49-F238E27FC236}">
                <a16:creationId xmlns:a16="http://schemas.microsoft.com/office/drawing/2014/main" id="{DC9A4DDA-4A89-484E-B5FA-7129412E13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419622"/>
            <a:ext cx="2110978" cy="291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dissolve/>
  </p:transition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47136F8-3818-447E-B2C6-739609448684}"/>
              </a:ext>
            </a:extLst>
          </p:cNvPr>
          <p:cNvSpPr/>
          <p:nvPr/>
        </p:nvSpPr>
        <p:spPr>
          <a:xfrm>
            <a:off x="0" y="86917"/>
            <a:ext cx="9144000" cy="81945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100" b="1" dirty="0">
                <a:solidFill>
                  <a:schemeClr val="accent1">
                    <a:lumMod val="75000"/>
                  </a:schemeClr>
                </a:solidFill>
              </a:rPr>
              <a:t>Книжный клуб - клуб мышления</a:t>
            </a:r>
          </a:p>
          <a:p>
            <a:pPr algn="ctr">
              <a:defRPr/>
            </a:pPr>
            <a:endParaRPr lang="ru-RU" sz="825" b="1" dirty="0">
              <a:solidFill>
                <a:schemeClr val="accent1">
                  <a:lumMod val="75000"/>
                </a:schemeClr>
              </a:solidFill>
            </a:endParaRPr>
          </a:p>
          <a:p>
            <a:pPr algn="ctr">
              <a:defRPr/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Школьная библиотека - вход в пространство новых смыслов</a:t>
            </a:r>
          </a:p>
        </p:txBody>
      </p:sp>
      <p:pic>
        <p:nvPicPr>
          <p:cNvPr id="139267" name="Picture 3" descr="C:\Users\Andrey\Desktop\ИЗДАНИЯ РШБА 2013-2014\Добру откроем сердце\cover_1-41.jpg">
            <a:extLst>
              <a:ext uri="{FF2B5EF4-FFF2-40B4-BE49-F238E27FC236}">
                <a16:creationId xmlns:a16="http://schemas.microsoft.com/office/drawing/2014/main" id="{849FB2EB-723E-4AFF-88A1-B743A9C0CC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66" y="1918098"/>
            <a:ext cx="1834753" cy="2591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9268" name="Заголовок 1">
            <a:extLst>
              <a:ext uri="{FF2B5EF4-FFF2-40B4-BE49-F238E27FC236}">
                <a16:creationId xmlns:a16="http://schemas.microsoft.com/office/drawing/2014/main" id="{08046F4B-26DF-4399-8A60-A708E45B53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63654" y="1383506"/>
            <a:ext cx="4733925" cy="3557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  <a:t>Содержание</a:t>
            </a:r>
            <a:b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650" b="1">
                <a:latin typeface="Times New Roman" panose="02020603050405020304" pitchFamily="18" charset="0"/>
                <a:cs typeface="Times New Roman" panose="02020603050405020304" pitchFamily="18" charset="0"/>
              </a:rPr>
              <a:t>Предисловие</a:t>
            </a:r>
            <a:b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  <a:t>Раздел 1. </a:t>
            </a:r>
            <a:r>
              <a:rPr lang="ru-RU" altLang="ru-RU" sz="1650" b="1">
                <a:latin typeface="Times New Roman" panose="02020603050405020304" pitchFamily="18" charset="0"/>
                <a:cs typeface="Times New Roman" panose="02020603050405020304" pitchFamily="18" charset="0"/>
              </a:rPr>
              <a:t>Совесть, или Суд над собой</a:t>
            </a:r>
            <a:b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  <a:t>Раздел 2. </a:t>
            </a:r>
            <a:r>
              <a:rPr lang="ru-RU" altLang="ru-RU" sz="1650" b="1">
                <a:latin typeface="Times New Roman" panose="02020603050405020304" pitchFamily="18" charset="0"/>
                <a:cs typeface="Times New Roman" panose="02020603050405020304" pitchFamily="18" charset="0"/>
              </a:rPr>
              <a:t>Быть или казаться </a:t>
            </a:r>
            <a:b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  <a:t>Раздел 3. </a:t>
            </a:r>
            <a:r>
              <a:rPr lang="ru-RU" altLang="ru-RU" sz="1650" b="1">
                <a:latin typeface="Times New Roman" panose="02020603050405020304" pitchFamily="18" charset="0"/>
                <a:cs typeface="Times New Roman" panose="02020603050405020304" pitchFamily="18" charset="0"/>
              </a:rPr>
              <a:t>О шутке всерьез </a:t>
            </a:r>
            <a:b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  <a:t>Раздел 4. </a:t>
            </a:r>
            <a:r>
              <a:rPr lang="ru-RU" altLang="ru-RU" sz="1650" b="1">
                <a:latin typeface="Times New Roman" panose="02020603050405020304" pitchFamily="18" charset="0"/>
                <a:cs typeface="Times New Roman" panose="02020603050405020304" pitchFamily="18" charset="0"/>
              </a:rPr>
              <a:t>О правде, лжи и детской фантазии </a:t>
            </a:r>
            <a:b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  <a:t>Раздел 5. </a:t>
            </a:r>
            <a:r>
              <a:rPr lang="ru-RU" altLang="ru-RU" sz="1650" b="1">
                <a:latin typeface="Times New Roman" panose="02020603050405020304" pitchFamily="18" charset="0"/>
                <a:cs typeface="Times New Roman" panose="02020603050405020304" pitchFamily="18" charset="0"/>
              </a:rPr>
              <a:t>О силе воли и силе духа </a:t>
            </a:r>
            <a:b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  <a:t>Раздел 6. «</a:t>
            </a:r>
            <a:r>
              <a:rPr lang="ru-RU" altLang="ru-RU" sz="1650" b="1">
                <a:latin typeface="Times New Roman" panose="02020603050405020304" pitchFamily="18" charset="0"/>
                <a:cs typeface="Times New Roman" panose="02020603050405020304" pitchFamily="18" charset="0"/>
              </a:rPr>
              <a:t>Что есть красота?» </a:t>
            </a:r>
            <a:b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  <a:t>Раздел 7. </a:t>
            </a:r>
            <a:r>
              <a:rPr lang="ru-RU" altLang="ru-RU" sz="1650" b="1">
                <a:latin typeface="Times New Roman" panose="02020603050405020304" pitchFamily="18" charset="0"/>
                <a:cs typeface="Times New Roman" panose="02020603050405020304" pitchFamily="18" charset="0"/>
              </a:rPr>
              <a:t>Доброта – счастью сестра </a:t>
            </a:r>
            <a:b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  <a:t>Раздел 8. </a:t>
            </a:r>
            <a:r>
              <a:rPr lang="ru-RU" altLang="ru-RU" sz="1650" b="1">
                <a:latin typeface="Times New Roman" panose="02020603050405020304" pitchFamily="18" charset="0"/>
                <a:cs typeface="Times New Roman" panose="02020603050405020304" pitchFamily="18" charset="0"/>
              </a:rPr>
              <a:t>Дружба истинная и ложная </a:t>
            </a:r>
            <a:b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  <a:t>Раздел 9. «</a:t>
            </a:r>
            <a:r>
              <a:rPr lang="ru-RU" altLang="ru-RU" sz="1650" b="1">
                <a:latin typeface="Times New Roman" panose="02020603050405020304" pitchFamily="18" charset="0"/>
                <a:cs typeface="Times New Roman" panose="02020603050405020304" pitchFamily="18" charset="0"/>
              </a:rPr>
              <a:t>В ответе за тех, кого приручил» </a:t>
            </a:r>
            <a:b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  <a:t>Раздел 10. </a:t>
            </a:r>
            <a:r>
              <a:rPr lang="ru-RU" altLang="ru-RU" sz="1650" b="1">
                <a:latin typeface="Times New Roman" panose="02020603050405020304" pitchFamily="18" charset="0"/>
                <a:cs typeface="Times New Roman" panose="02020603050405020304" pitchFamily="18" charset="0"/>
              </a:rPr>
              <a:t>Чтение – души движение </a:t>
            </a:r>
            <a:br>
              <a:rPr lang="ru-RU" altLang="ru-RU" sz="165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650" b="1">
                <a:latin typeface="Times New Roman" panose="02020603050405020304" pitchFamily="18" charset="0"/>
                <a:cs typeface="Times New Roman" panose="02020603050405020304" pitchFamily="18" charset="0"/>
              </a:rPr>
              <a:t>Указатель авторов и названий рассказов</a:t>
            </a:r>
            <a:br>
              <a:rPr lang="ru-RU" altLang="ru-RU" sz="1650" b="1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650" b="1">
                <a:latin typeface="Times New Roman" panose="02020603050405020304" pitchFamily="18" charset="0"/>
                <a:cs typeface="Times New Roman" panose="02020603050405020304" pitchFamily="18" charset="0"/>
              </a:rPr>
              <a:t>для обсуждения </a:t>
            </a:r>
            <a:endParaRPr lang="ru-RU" altLang="ru-RU" sz="165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9269" name="Рисунок 4">
            <a:extLst>
              <a:ext uri="{FF2B5EF4-FFF2-40B4-BE49-F238E27FC236}">
                <a16:creationId xmlns:a16="http://schemas.microsoft.com/office/drawing/2014/main" id="{1470F295-D888-462F-9708-2F824FB90E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8085" y="1447800"/>
            <a:ext cx="2384822" cy="3531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dissolve/>
  </p:transition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Заголовок 1">
            <a:extLst>
              <a:ext uri="{FF2B5EF4-FFF2-40B4-BE49-F238E27FC236}">
                <a16:creationId xmlns:a16="http://schemas.microsoft.com/office/drawing/2014/main" id="{7F0BC7DB-880A-4FE5-A926-E6296B31CC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1600" y="2819773"/>
            <a:ext cx="4066852" cy="1583407"/>
          </a:xfrm>
        </p:spPr>
        <p:txBody>
          <a:bodyPr/>
          <a:lstStyle/>
          <a:p>
            <a:pPr algn="l"/>
            <a:r>
              <a:rPr lang="ru-RU" alt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Как отмечает И.И. Тихомирова, методическая система материнского чтения, разработанная В.П. Острогорским, на опыте которого училась и духовно развивалась вся Россия, сегодня нуждается в возрождении. </a:t>
            </a:r>
            <a:b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alt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7347" name="Рисунок 2">
            <a:extLst>
              <a:ext uri="{FF2B5EF4-FFF2-40B4-BE49-F238E27FC236}">
                <a16:creationId xmlns:a16="http://schemas.microsoft.com/office/drawing/2014/main" id="{31FFCB4D-651B-43E6-B97C-C7D7CFD8F8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339502"/>
            <a:ext cx="1798690" cy="1995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48" name="Picture 2" descr="C:\Users\Andrey\Desktop\ПЕЧАТЬ\seriya1_vip5_2016_digest-obl.jpg">
            <a:extLst>
              <a:ext uri="{FF2B5EF4-FFF2-40B4-BE49-F238E27FC236}">
                <a16:creationId xmlns:a16="http://schemas.microsoft.com/office/drawing/2014/main" id="{258C5C2A-E687-408C-8333-4F781E471B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303213"/>
            <a:ext cx="2975567" cy="445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874" name="Picture 4">
            <a:extLst>
              <a:ext uri="{FF2B5EF4-FFF2-40B4-BE49-F238E27FC236}">
                <a16:creationId xmlns:a16="http://schemas.microsoft.com/office/drawing/2014/main" id="{FC5F9DC3-564F-48D7-8FD5-1310020744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0756" y="627460"/>
            <a:ext cx="2571750" cy="383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5" name="Picture 5" descr="Мария  Черняк">
            <a:extLst>
              <a:ext uri="{FF2B5EF4-FFF2-40B4-BE49-F238E27FC236}">
                <a16:creationId xmlns:a16="http://schemas.microsoft.com/office/drawing/2014/main" id="{FCDCB138-F15C-4F72-A7B3-7D8135B0D0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494" y="1537098"/>
            <a:ext cx="2068116" cy="2068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9876" name="Прямоугольник 1">
            <a:extLst>
              <a:ext uri="{FF2B5EF4-FFF2-40B4-BE49-F238E27FC236}">
                <a16:creationId xmlns:a16="http://schemas.microsoft.com/office/drawing/2014/main" id="{8B41F89E-6B4E-4DBC-BEB8-DFF07C1940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7981" y="1809750"/>
            <a:ext cx="3077766" cy="1546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350" b="1">
                <a:solidFill>
                  <a:srgbClr val="333333"/>
                </a:solidFill>
                <a:latin typeface="Arial" panose="020B0604020202020204" pitchFamily="34" charset="0"/>
              </a:rPr>
              <a:t>Мария</a:t>
            </a:r>
            <a:r>
              <a:rPr lang="ru-RU" altLang="ru-RU" sz="1350">
                <a:solidFill>
                  <a:srgbClr val="333333"/>
                </a:solidFill>
                <a:latin typeface="Arial" panose="020B0604020202020204" pitchFamily="34" charset="0"/>
              </a:rPr>
              <a:t> </a:t>
            </a:r>
            <a:r>
              <a:rPr lang="ru-RU" altLang="ru-RU" sz="1350" b="1">
                <a:solidFill>
                  <a:srgbClr val="333333"/>
                </a:solidFill>
                <a:latin typeface="Arial" panose="020B0604020202020204" pitchFamily="34" charset="0"/>
              </a:rPr>
              <a:t>Александровна</a:t>
            </a:r>
            <a:r>
              <a:rPr lang="ru-RU" altLang="ru-RU" sz="1350">
                <a:solidFill>
                  <a:srgbClr val="333333"/>
                </a:solidFill>
                <a:latin typeface="Arial" panose="020B0604020202020204" pitchFamily="34" charset="0"/>
              </a:rPr>
              <a:t> </a:t>
            </a:r>
            <a:r>
              <a:rPr lang="ru-RU" altLang="ru-RU" sz="1350" b="1">
                <a:solidFill>
                  <a:srgbClr val="333333"/>
                </a:solidFill>
                <a:latin typeface="Arial" panose="020B0604020202020204" pitchFamily="34" charset="0"/>
              </a:rPr>
              <a:t>Черняк,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350">
                <a:solidFill>
                  <a:srgbClr val="333333"/>
                </a:solidFill>
                <a:latin typeface="Arial" panose="020B0604020202020204" pitchFamily="34" charset="0"/>
              </a:rPr>
              <a:t>доктор филологических наук, профессор кафедры новейшей русской литературы Российского государственного педагогического университета им. А.И. Герцена </a:t>
            </a:r>
            <a:br>
              <a:rPr lang="ru-RU" altLang="ru-RU" sz="1350">
                <a:solidFill>
                  <a:srgbClr val="333333"/>
                </a:solidFill>
                <a:latin typeface="Arial" panose="020B0604020202020204" pitchFamily="34" charset="0"/>
              </a:rPr>
            </a:br>
            <a:r>
              <a:rPr lang="ru-RU" altLang="ru-RU" sz="1350">
                <a:solidFill>
                  <a:srgbClr val="333333"/>
                </a:solidFill>
                <a:latin typeface="Arial" panose="020B0604020202020204" pitchFamily="34" charset="0"/>
              </a:rPr>
              <a:t>(г. Санкт-Петербург)</a:t>
            </a:r>
            <a:endParaRPr lang="ru-RU" altLang="ru-RU" sz="1350"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 spd="med">
    <p:dissolve/>
  </p:transition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Номер слайда 5">
            <a:extLst>
              <a:ext uri="{FF2B5EF4-FFF2-40B4-BE49-F238E27FC236}">
                <a16:creationId xmlns:a16="http://schemas.microsoft.com/office/drawing/2014/main" id="{A40094C1-C9BD-4587-A5D2-167CCDA90EEF}"/>
              </a:ext>
            </a:extLst>
          </p:cNvPr>
          <p:cNvSpPr>
            <a:spLocks noGrp="1" noChangeArrowheads="1"/>
          </p:cNvSpPr>
          <p:nvPr>
            <p:ph type="sldNum" sz="quarter" idx="16"/>
          </p:nvPr>
        </p:nvSpPr>
        <p:spPr bwMode="auto">
          <a:xfrm>
            <a:off x="8582025" y="4767263"/>
            <a:ext cx="561975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213" indent="-21431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250" indent="-171450">
              <a:spcBef>
                <a:spcPct val="200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0150" indent="-171450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3050" indent="-171450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9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8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7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46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A75D76A6-D58C-466C-ACCB-49DF81C9BCA5}" type="slidenum">
              <a:rPr lang="ru-RU" altLang="ru-RU" sz="90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96</a:t>
            </a:fld>
            <a:endParaRPr lang="ru-RU" altLang="ru-RU" sz="900">
              <a:solidFill>
                <a:srgbClr val="898989"/>
              </a:solidFill>
            </a:endParaRPr>
          </a:p>
        </p:txBody>
      </p:sp>
      <p:sp>
        <p:nvSpPr>
          <p:cNvPr id="18" name="Заголовок 2">
            <a:extLst>
              <a:ext uri="{FF2B5EF4-FFF2-40B4-BE49-F238E27FC236}">
                <a16:creationId xmlns:a16="http://schemas.microsoft.com/office/drawing/2014/main" id="{E965520D-252E-4898-A0BC-FD56EC1B5000}"/>
              </a:ext>
            </a:extLst>
          </p:cNvPr>
          <p:cNvSpPr txBox="1">
            <a:spLocks/>
          </p:cNvSpPr>
          <p:nvPr/>
        </p:nvSpPr>
        <p:spPr>
          <a:xfrm>
            <a:off x="107156" y="88106"/>
            <a:ext cx="8929688" cy="647700"/>
          </a:xfrm>
          <a:prstGeom prst="rect">
            <a:avLst/>
          </a:prstGeom>
        </p:spPr>
        <p:txBody>
          <a:bodyPr lIns="91440" tIns="45720" rIns="91440" bIns="45720" anchor="b"/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  <a:defRPr/>
            </a:pPr>
            <a:r>
              <a:rPr lang="ru-RU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НИМАНИЕ! </a:t>
            </a: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Новый электронный ресурс для российских школ – </a:t>
            </a:r>
            <a:b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«ЧИТАЮЩАЯ ШКОЛА»: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9F3875A-03F7-4126-813C-E6CFF5D9B11B}"/>
              </a:ext>
            </a:extLst>
          </p:cNvPr>
          <p:cNvSpPr/>
          <p:nvPr/>
        </p:nvSpPr>
        <p:spPr>
          <a:xfrm>
            <a:off x="3131344" y="947738"/>
            <a:ext cx="5817394" cy="403187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43" indent="-285743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айджест новостей образования, культуры, книжного и медиа рынка</a:t>
            </a:r>
          </a:p>
          <a:p>
            <a:pPr marL="285743" indent="-285743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оступ к вебинарам и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видеолекция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по теме «Современная библиотека – пространство для формирования и развития компетенций XXI века. Наука – школе: через библиотеки к будущему» и др.</a:t>
            </a:r>
          </a:p>
          <a:p>
            <a:pPr marL="285743" indent="-285743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нновационные разработки по работе с родителями (предлагаем участвовать в проектах «Добру откроем сердце. Школа развивающего чтения для мам», «Семь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читаек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» и др.)</a:t>
            </a:r>
          </a:p>
          <a:p>
            <a:pPr marL="285743" indent="-285743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ЭБС «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Библиошкол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» (ресурс «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Direct-Media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»)</a:t>
            </a:r>
          </a:p>
          <a:p>
            <a:pPr marL="285743" indent="-285743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«Электронный школьный каталог» (ресурс Российской книжной палаты)</a:t>
            </a:r>
          </a:p>
          <a:p>
            <a:pPr marL="285743" indent="-285743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журнал «Читаем вместе. Навигатор в мире книг» помогает читателям ориентироваться в современной литературе – российской и зарубежной</a:t>
            </a:r>
          </a:p>
        </p:txBody>
      </p:sp>
      <p:pic>
        <p:nvPicPr>
          <p:cNvPr id="24581" name="Рисунок 5">
            <a:extLst>
              <a:ext uri="{FF2B5EF4-FFF2-40B4-BE49-F238E27FC236}">
                <a16:creationId xmlns:a16="http://schemas.microsoft.com/office/drawing/2014/main" id="{8E2EDD2E-D72E-4EDB-A5BF-AD6AD2059C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916" y="947737"/>
            <a:ext cx="2232422" cy="3473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dissolve/>
  </p:transition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Номер слайда 5">
            <a:extLst>
              <a:ext uri="{FF2B5EF4-FFF2-40B4-BE49-F238E27FC236}">
                <a16:creationId xmlns:a16="http://schemas.microsoft.com/office/drawing/2014/main" id="{FC8D6F41-F0BF-4207-8281-D04BC9C23884}"/>
              </a:ext>
            </a:extLst>
          </p:cNvPr>
          <p:cNvSpPr>
            <a:spLocks noGrp="1" noChangeArrowheads="1"/>
          </p:cNvSpPr>
          <p:nvPr>
            <p:ph type="sldNum" sz="quarter" idx="16"/>
          </p:nvPr>
        </p:nvSpPr>
        <p:spPr bwMode="auto">
          <a:xfrm>
            <a:off x="8582025" y="4767263"/>
            <a:ext cx="561975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213" indent="-21431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250" indent="-171450">
              <a:spcBef>
                <a:spcPct val="200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0150" indent="-171450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3050" indent="-171450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9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8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7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46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14F4E052-E856-44D9-AED9-95DBBA63839D}" type="slidenum">
              <a:rPr lang="ru-RU" altLang="ru-RU" sz="90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97</a:t>
            </a:fld>
            <a:endParaRPr lang="ru-RU" altLang="ru-RU" sz="900">
              <a:solidFill>
                <a:srgbClr val="898989"/>
              </a:solidFill>
            </a:endParaRPr>
          </a:p>
        </p:txBody>
      </p:sp>
      <p:sp>
        <p:nvSpPr>
          <p:cNvPr id="18" name="Заголовок 2">
            <a:extLst>
              <a:ext uri="{FF2B5EF4-FFF2-40B4-BE49-F238E27FC236}">
                <a16:creationId xmlns:a16="http://schemas.microsoft.com/office/drawing/2014/main" id="{01AEBB21-B30F-43C7-85BD-B64AF790573D}"/>
              </a:ext>
            </a:extLst>
          </p:cNvPr>
          <p:cNvSpPr txBox="1">
            <a:spLocks/>
          </p:cNvSpPr>
          <p:nvPr/>
        </p:nvSpPr>
        <p:spPr>
          <a:xfrm>
            <a:off x="107156" y="19050"/>
            <a:ext cx="8929688" cy="647700"/>
          </a:xfrm>
          <a:prstGeom prst="rect">
            <a:avLst/>
          </a:prstGeom>
        </p:spPr>
        <p:txBody>
          <a:bodyPr lIns="91440" tIns="45720" rIns="91440" bIns="45720" anchor="b"/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  <a:defRPr/>
            </a:pPr>
            <a: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Новый электронный ресурс для российских школ – </a:t>
            </a:r>
            <a:br>
              <a:rPr lang="ru-RU" sz="20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«ЧИТАЮЩАЯ ШКОЛА»: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A46B740-70DD-4B5A-8180-3D87794432AA}"/>
              </a:ext>
            </a:extLst>
          </p:cNvPr>
          <p:cNvSpPr/>
          <p:nvPr/>
        </p:nvSpPr>
        <p:spPr>
          <a:xfrm>
            <a:off x="165498" y="702469"/>
            <a:ext cx="8798719" cy="418576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43" indent="-285743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журнал «Школьная библиотека»</a:t>
            </a:r>
          </a:p>
          <a:p>
            <a:pPr marL="285743" indent="-285743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офессиональная библиотека школьного библиотекаря. Серия 1: «В помощь-педагогу библиотекарю»</a:t>
            </a:r>
          </a:p>
          <a:p>
            <a:pPr marL="285743" indent="-285743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архив книжных изданий РШБА (более 75 книг)</a:t>
            </a:r>
          </a:p>
          <a:p>
            <a:pPr marL="285743" indent="-285743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архив журнала «Школьная библиотека» (более 185 номеров)</a:t>
            </a:r>
          </a:p>
          <a:p>
            <a:pPr marL="285743" indent="-285743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архив журнала для детей «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Читайка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» (более 140 номеров с рассказами и стихами, играми и кроссвордами, загадками и творческими заданиями для детишек)</a:t>
            </a:r>
          </a:p>
          <a:p>
            <a:pPr marL="285743" indent="-285743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архив приложения к журналу «Школьная библиотека»,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Cерия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2: «Выставка в школьной библиотеке»: текстовая часть.</a:t>
            </a:r>
          </a:p>
          <a:p>
            <a:pPr marL="285743" indent="-285743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ценарии проведения библиотечных уроков, массовых мероприятий по приобщению к чтению, в частности, к юбилеям писателей, поэтов, ученых, знаменательным датам русской и мировой истории</a:t>
            </a:r>
          </a:p>
          <a:p>
            <a:pPr>
              <a:defRPr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новление ресурса: ежемесячно.</a:t>
            </a:r>
          </a:p>
          <a:p>
            <a:pPr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пособ получения ресурса: личный кабинет.</a:t>
            </a:r>
          </a:p>
          <a:p>
            <a:pPr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одробнее на портале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WWW.RUSLA.RU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Условия подписки на сайте: </a:t>
            </a:r>
            <a:r>
              <a:rPr lang="en-US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blioschool.ru</a:t>
            </a:r>
            <a:br>
              <a:rPr lang="ru-RU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 spd="med">
    <p:dissolve/>
  </p:transition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Заголовок 1">
            <a:extLst>
              <a:ext uri="{FF2B5EF4-FFF2-40B4-BE49-F238E27FC236}">
                <a16:creationId xmlns:a16="http://schemas.microsoft.com/office/drawing/2014/main" id="{1DD87B0D-9E80-45B0-9A16-2B26A40990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994173"/>
            <a:ext cx="7772400" cy="1706165"/>
          </a:xfrm>
        </p:spPr>
        <p:txBody>
          <a:bodyPr/>
          <a:lstStyle/>
          <a:p>
            <a:r>
              <a:rPr lang="ru-RU" altLang="ru-RU" sz="6600">
                <a:solidFill>
                  <a:srgbClr val="00B050"/>
                </a:solidFill>
              </a:rPr>
              <a:t>Школьная</a:t>
            </a:r>
            <a:br>
              <a:rPr lang="ru-RU" altLang="ru-RU" sz="6600">
                <a:solidFill>
                  <a:srgbClr val="00B050"/>
                </a:solidFill>
              </a:rPr>
            </a:br>
            <a:r>
              <a:rPr lang="ru-RU" altLang="ru-RU" sz="6600">
                <a:solidFill>
                  <a:srgbClr val="00B050"/>
                </a:solidFill>
              </a:rPr>
              <a:t>Библиоте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E2E1512-4BF5-4A5F-9F8D-3C61383A4A6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defRPr/>
            </a:pPr>
            <a:r>
              <a:rPr lang="ru-RU" b="1" dirty="0"/>
              <a:t>Информационно-методический журнал</a:t>
            </a:r>
            <a:br>
              <a:rPr lang="ru-RU" dirty="0"/>
            </a:br>
            <a:r>
              <a:rPr lang="ru-RU" dirty="0"/>
              <a:t>выпускается РШБА с 2000 года</a:t>
            </a:r>
          </a:p>
          <a:p>
            <a:pPr>
              <a:defRPr/>
            </a:pPr>
            <a:endParaRPr lang="ru-RU" dirty="0"/>
          </a:p>
        </p:txBody>
      </p:sp>
      <p:pic>
        <p:nvPicPr>
          <p:cNvPr id="128004" name="Рисунок 12" descr="Изображение выглядит как текст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id="{64A9367D-3C2C-492F-96A6-8E10E91D22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9816" y="2462213"/>
            <a:ext cx="1091803" cy="698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005" name="Рисунок 14" descr="Изображение выглядит как текст, вычерчивание линий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id="{76DEADC2-035E-4632-9535-3ED0386446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3863" y="1476375"/>
            <a:ext cx="1097756" cy="931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006" name="Рисунок 16" descr="Изображение выглядит как текст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03D0CB1C-2FCA-4722-A569-BAFA992129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3388" y="120253"/>
            <a:ext cx="1092994" cy="1356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007" name="Рисунок 18">
            <a:extLst>
              <a:ext uri="{FF2B5EF4-FFF2-40B4-BE49-F238E27FC236}">
                <a16:creationId xmlns:a16="http://schemas.microsoft.com/office/drawing/2014/main" id="{DDCBE5CE-54F5-4FC8-963C-7E3928C6B7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5054" y="4077891"/>
            <a:ext cx="1103709" cy="1033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008" name="Рисунок 20" descr="Изображение выглядит как текст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id="{7E647BA3-5EC9-4ABD-B510-24F48BD555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7910" y="3161110"/>
            <a:ext cx="1097756" cy="912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009" name="Рисунок 4">
            <a:extLst>
              <a:ext uri="{FF2B5EF4-FFF2-40B4-BE49-F238E27FC236}">
                <a16:creationId xmlns:a16="http://schemas.microsoft.com/office/drawing/2014/main" id="{86DDE24D-C87D-4993-9B49-58D0C19FAA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1" y="2381"/>
            <a:ext cx="1168003" cy="1772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010" name="Рисунок 14" descr="Изображение выглядит как книга, полка, библиотека,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D36BEB91-58FB-4C77-B8F7-A6E8C65736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335" y="3483769"/>
            <a:ext cx="1177529" cy="1706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011" name="Рисунок 16">
            <a:extLst>
              <a:ext uri="{FF2B5EF4-FFF2-40B4-BE49-F238E27FC236}">
                <a16:creationId xmlns:a16="http://schemas.microsoft.com/office/drawing/2014/main" id="{6C207644-C03E-45E0-88E8-E1229C0E5A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81" y="1779985"/>
            <a:ext cx="1169194" cy="1703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>
            <a:extLst>
              <a:ext uri="{FF2B5EF4-FFF2-40B4-BE49-F238E27FC236}">
                <a16:creationId xmlns:a16="http://schemas.microsoft.com/office/drawing/2014/main" id="{1ED19F63-37D4-46A4-8177-AB5B464B12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916" y="1196579"/>
            <a:ext cx="5400675" cy="3390900"/>
          </a:xfrm>
        </p:spPr>
        <p:txBody>
          <a:bodyPr>
            <a:normAutofit fontScale="25000" lnSpcReduction="20000"/>
          </a:bodyPr>
          <a:lstStyle/>
          <a:p>
            <a:pPr>
              <a:spcBef>
                <a:spcPct val="0"/>
              </a:spcBef>
              <a:defRPr/>
            </a:pPr>
            <a:r>
              <a:rPr lang="ru-RU" altLang="ru-RU" sz="7200" b="1" dirty="0">
                <a:latin typeface="Arial" panose="020B0604020202020204" pitchFamily="34" charset="0"/>
              </a:rPr>
              <a:t>Подписка онлайн: </a:t>
            </a:r>
          </a:p>
          <a:p>
            <a:pPr marL="857250" indent="-85725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ru-RU" altLang="ru-RU" sz="7200" dirty="0">
                <a:latin typeface="Arial" panose="020B0604020202020204" pitchFamily="34" charset="0"/>
              </a:rPr>
              <a:t>Сайт «Почта России»: </a:t>
            </a:r>
            <a:r>
              <a:rPr lang="ru-RU" altLang="ru-RU" sz="7200" u="sng" dirty="0">
                <a:latin typeface="Arial" panose="020B0604020202020204" pitchFamily="34" charset="0"/>
                <a:hlinkClick r:id="rId3"/>
              </a:rPr>
              <a:t>podpiska.pochta.ru </a:t>
            </a:r>
            <a:endParaRPr lang="ru-RU" altLang="ru-RU" sz="7200" u="sng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defRPr/>
            </a:pPr>
            <a:r>
              <a:rPr lang="ru-RU" altLang="ru-RU" sz="7200" b="1" dirty="0">
                <a:latin typeface="Arial" panose="020B0604020202020204" pitchFamily="34" charset="0"/>
              </a:rPr>
              <a:t>По каталогам в почтовых отделениях:</a:t>
            </a:r>
          </a:p>
          <a:p>
            <a:pPr marL="857228" indent="-857228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ru-RU" altLang="ru-RU" sz="7200" dirty="0">
                <a:latin typeface="Arial" panose="020B0604020202020204" pitchFamily="34" charset="0"/>
              </a:rPr>
              <a:t>«Почта России» - </a:t>
            </a:r>
            <a:r>
              <a:rPr lang="ru-RU" altLang="ru-RU" sz="7200" dirty="0">
                <a:solidFill>
                  <a:schemeClr val="tx2"/>
                </a:solidFill>
                <a:latin typeface="Arial" panose="020B0604020202020204" pitchFamily="34" charset="0"/>
              </a:rPr>
              <a:t>П3683 </a:t>
            </a:r>
          </a:p>
          <a:p>
            <a:pPr marL="857228" indent="-857228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ru-RU" altLang="ru-RU" sz="7200" dirty="0">
                <a:latin typeface="Arial" panose="020B0604020202020204" pitchFamily="34" charset="0"/>
              </a:rPr>
              <a:t>«Роспечать» – </a:t>
            </a:r>
            <a:r>
              <a:rPr lang="ru-RU" altLang="ru-RU" sz="7200" dirty="0">
                <a:solidFill>
                  <a:schemeClr val="tx2"/>
                </a:solidFill>
                <a:latin typeface="Arial" panose="020B0604020202020204" pitchFamily="34" charset="0"/>
              </a:rPr>
              <a:t>18220</a:t>
            </a:r>
            <a:r>
              <a:rPr lang="ru-RU" altLang="ru-RU" sz="7200" dirty="0">
                <a:latin typeface="Arial" panose="020B0604020202020204" pitchFamily="34" charset="0"/>
              </a:rPr>
              <a:t>, на год – </a:t>
            </a:r>
            <a:r>
              <a:rPr lang="ru-RU" altLang="ru-RU" sz="7200" dirty="0">
                <a:solidFill>
                  <a:schemeClr val="tx2"/>
                </a:solidFill>
                <a:latin typeface="Arial" panose="020B0604020202020204" pitchFamily="34" charset="0"/>
              </a:rPr>
              <a:t>85130 </a:t>
            </a:r>
          </a:p>
          <a:p>
            <a:pPr marL="857228" indent="-857228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ru-RU" altLang="ru-RU" sz="7200" dirty="0">
                <a:latin typeface="Arial" panose="020B0604020202020204" pitchFamily="34" charset="0"/>
              </a:rPr>
              <a:t>«Урал-пресс» – </a:t>
            </a:r>
            <a:r>
              <a:rPr lang="ru-RU" altLang="ru-RU" sz="7200" dirty="0">
                <a:solidFill>
                  <a:schemeClr val="tx2"/>
                </a:solidFill>
                <a:latin typeface="Arial" panose="020B0604020202020204" pitchFamily="34" charset="0"/>
              </a:rPr>
              <a:t>85130</a:t>
            </a:r>
            <a:r>
              <a:rPr lang="ru-RU" altLang="ru-RU" sz="7200" dirty="0">
                <a:latin typeface="Arial" panose="020B0604020202020204" pitchFamily="34" charset="0"/>
              </a:rPr>
              <a:t> на год для </a:t>
            </a:r>
            <a:r>
              <a:rPr lang="ru-RU" altLang="ru-RU" sz="7200" dirty="0" err="1">
                <a:latin typeface="Arial" panose="020B0604020202020204" pitchFamily="34" charset="0"/>
              </a:rPr>
              <a:t>юр.лиц</a:t>
            </a:r>
            <a:r>
              <a:rPr lang="ru-RU" altLang="ru-RU" sz="7200" dirty="0">
                <a:latin typeface="Arial" panose="020B0604020202020204" pitchFamily="34" charset="0"/>
              </a:rPr>
              <a:t> </a:t>
            </a:r>
            <a:br>
              <a:rPr lang="ru-RU" altLang="ru-RU" sz="7200" dirty="0">
                <a:latin typeface="Arial" panose="020B0604020202020204" pitchFamily="34" charset="0"/>
              </a:rPr>
            </a:br>
            <a:r>
              <a:rPr lang="ru-RU" altLang="ru-RU" sz="7200" dirty="0">
                <a:latin typeface="Arial" panose="020B0604020202020204" pitchFamily="34" charset="0"/>
              </a:rPr>
              <a:t>(</a:t>
            </a:r>
            <a:r>
              <a:rPr lang="ru-RU" altLang="ru-RU" sz="7200" dirty="0">
                <a:latin typeface="Arial" panose="020B0604020202020204" pitchFamily="34" charset="0"/>
                <a:hlinkClick r:id="rId4"/>
              </a:rPr>
              <a:t>ural-press.ru</a:t>
            </a:r>
            <a:r>
              <a:rPr lang="ru-RU" altLang="ru-RU" sz="7200" dirty="0">
                <a:latin typeface="Arial" panose="020B0604020202020204" pitchFamily="34" charset="0"/>
              </a:rPr>
              <a:t>)</a:t>
            </a:r>
          </a:p>
          <a:p>
            <a:pPr marL="857228" indent="-857228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ru-RU" altLang="ru-RU" sz="7200" dirty="0">
                <a:latin typeface="Arial" panose="020B0604020202020204" pitchFamily="34" charset="0"/>
              </a:rPr>
              <a:t>«Пресса России» – </a:t>
            </a:r>
            <a:r>
              <a:rPr lang="ru-RU" altLang="ru-RU" sz="7200" dirty="0">
                <a:solidFill>
                  <a:schemeClr val="tx2"/>
                </a:solidFill>
                <a:latin typeface="Arial" panose="020B0604020202020204" pitchFamily="34" charset="0"/>
              </a:rPr>
              <a:t>43951 </a:t>
            </a:r>
            <a:br>
              <a:rPr lang="ru-RU" altLang="ru-RU" sz="7200" dirty="0">
                <a:solidFill>
                  <a:schemeClr val="tx2"/>
                </a:solidFill>
                <a:latin typeface="Arial" panose="020B0604020202020204" pitchFamily="34" charset="0"/>
              </a:rPr>
            </a:br>
            <a:r>
              <a:rPr lang="ru-RU" altLang="ru-RU" sz="7200" dirty="0">
                <a:latin typeface="Arial" panose="020B0604020202020204" pitchFamily="34" charset="0"/>
              </a:rPr>
              <a:t>(для зарубежных подписчиков)</a:t>
            </a:r>
          </a:p>
          <a:p>
            <a:pPr>
              <a:spcBef>
                <a:spcPct val="0"/>
              </a:spcBef>
              <a:defRPr/>
            </a:pPr>
            <a:r>
              <a:rPr lang="ru-RU" altLang="ru-RU" sz="7200" dirty="0">
                <a:latin typeface="Arial" panose="020B0604020202020204" pitchFamily="34" charset="0"/>
              </a:rPr>
              <a:t>Периодичность выхода – 6 номеров в год.</a:t>
            </a:r>
          </a:p>
          <a:p>
            <a:pPr>
              <a:spcBef>
                <a:spcPct val="0"/>
              </a:spcBef>
              <a:defRPr/>
            </a:pP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129027" name="Заголовок 2">
            <a:extLst>
              <a:ext uri="{FF2B5EF4-FFF2-40B4-BE49-F238E27FC236}">
                <a16:creationId xmlns:a16="http://schemas.microsoft.com/office/drawing/2014/main" id="{311BE9A1-B1A5-4B46-BD75-53BE8829FE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698" y="303610"/>
            <a:ext cx="7670006" cy="896540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ru-RU" altLang="ru-RU" sz="3150" dirty="0">
                <a:solidFill>
                  <a:schemeClr val="accent1"/>
                </a:solidFill>
                <a:cs typeface="Calibri" panose="020F0502020204030204" pitchFamily="34" charset="0"/>
              </a:rPr>
              <a:t>Подписка на журнал</a:t>
            </a:r>
            <a:br>
              <a:rPr lang="ru-RU" altLang="ru-RU" sz="3150" dirty="0">
                <a:solidFill>
                  <a:schemeClr val="accent1"/>
                </a:solidFill>
                <a:cs typeface="Calibri" panose="020F0502020204030204" pitchFamily="34" charset="0"/>
              </a:rPr>
            </a:br>
            <a:r>
              <a:rPr lang="ru-RU" altLang="ru-RU" sz="3150" dirty="0">
                <a:solidFill>
                  <a:schemeClr val="accent1"/>
                </a:solidFill>
                <a:cs typeface="Calibri" panose="020F0502020204030204" pitchFamily="34" charset="0"/>
              </a:rPr>
              <a:t>«Школьная библиотека»</a:t>
            </a:r>
          </a:p>
        </p:txBody>
      </p:sp>
      <p:sp>
        <p:nvSpPr>
          <p:cNvPr id="129029" name="Номер слайда 5">
            <a:extLst>
              <a:ext uri="{FF2B5EF4-FFF2-40B4-BE49-F238E27FC236}">
                <a16:creationId xmlns:a16="http://schemas.microsoft.com/office/drawing/2014/main" id="{31BA137F-CBD6-49B3-98B8-0AB53E314451}"/>
              </a:ext>
            </a:extLst>
          </p:cNvPr>
          <p:cNvSpPr>
            <a:spLocks noGrp="1" noChangeArrowheads="1"/>
          </p:cNvSpPr>
          <p:nvPr>
            <p:ph type="sldNum" sz="quarter" idx="16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213" indent="-21431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250" indent="-171450">
              <a:spcBef>
                <a:spcPct val="200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0150" indent="-171450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3050" indent="-171450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9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8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7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4650" indent="-1714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BE2DCB01-109A-4DE1-B6F5-AF4A1DE15699}" type="slidenum">
              <a:rPr lang="ru-RU" altLang="ru-RU" sz="90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99</a:t>
            </a:fld>
            <a:endParaRPr lang="ru-RU" altLang="ru-RU" sz="900">
              <a:solidFill>
                <a:srgbClr val="898989"/>
              </a:solidFill>
            </a:endParaRPr>
          </a:p>
        </p:txBody>
      </p:sp>
      <p:sp>
        <p:nvSpPr>
          <p:cNvPr id="129030" name="Рисунок 8">
            <a:extLst>
              <a:ext uri="{FF2B5EF4-FFF2-40B4-BE49-F238E27FC236}">
                <a16:creationId xmlns:a16="http://schemas.microsoft.com/office/drawing/2014/main" id="{0D5E9550-BA10-40C7-A1EC-35B2EF96041E}"/>
              </a:ext>
            </a:extLst>
          </p:cNvPr>
          <p:cNvSpPr>
            <a:spLocks noGrp="1" noTextEdit="1"/>
          </p:cNvSpPr>
          <p:nvPr>
            <p:ph type="pic" sz="quarter" idx="13"/>
          </p:nvPr>
        </p:nvSpPr>
        <p:spPr>
          <a:xfrm>
            <a:off x="467916" y="303610"/>
            <a:ext cx="863203" cy="900113"/>
          </a:xfrm>
        </p:spPr>
      </p:sp>
      <p:pic>
        <p:nvPicPr>
          <p:cNvPr id="129031" name="Рисунок 3" descr="Изображение выглядит как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A62974C1-2F6C-4BCD-A9BB-3EE928C7EA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494" y="300038"/>
            <a:ext cx="725091" cy="907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9032" name="Picture 4">
            <a:extLst>
              <a:ext uri="{FF2B5EF4-FFF2-40B4-BE49-F238E27FC236}">
                <a16:creationId xmlns:a16="http://schemas.microsoft.com/office/drawing/2014/main" id="{7D6548EF-B7B6-469A-A48F-B8E081F996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615553"/>
            <a:ext cx="2656284" cy="3912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doEKL.2RgQHQalDTXZ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Z4tYyORtm6KuGgf2dy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_CUu.q2fDo6NkTwmL5M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Исполнительная">
  <a:themeElements>
    <a:clrScheme name="Русла - 1">
      <a:dk1>
        <a:sysClr val="windowText" lastClr="000000"/>
      </a:dk1>
      <a:lt1>
        <a:sysClr val="window" lastClr="FFFFFF"/>
      </a:lt1>
      <a:dk2>
        <a:srgbClr val="00B050"/>
      </a:dk2>
      <a:lt2>
        <a:srgbClr val="E4E9EF"/>
      </a:lt2>
      <a:accent1>
        <a:srgbClr val="00B050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Русла Шрифт">
      <a:majorFont>
        <a:latin typeface="Candara"/>
        <a:ea typeface=""/>
        <a:cs typeface=""/>
      </a:majorFont>
      <a:minorFont>
        <a:latin typeface="Palatino Linotype"/>
        <a:ea typeface=""/>
        <a:cs typeface=""/>
      </a:minorFont>
    </a:fontScheme>
    <a:fmtScheme name="Исполнитель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66</TotalTime>
  <Words>8225</Words>
  <Application>Microsoft Office PowerPoint</Application>
  <PresentationFormat>Экран (16:9)</PresentationFormat>
  <Paragraphs>702</Paragraphs>
  <Slides>104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4</vt:i4>
      </vt:variant>
    </vt:vector>
  </HeadingPairs>
  <TitlesOfParts>
    <vt:vector size="118" baseType="lpstr">
      <vt:lpstr>Arial</vt:lpstr>
      <vt:lpstr>Calibri</vt:lpstr>
      <vt:lpstr>Cambria</vt:lpstr>
      <vt:lpstr>Candara</vt:lpstr>
      <vt:lpstr>Century Gothic</vt:lpstr>
      <vt:lpstr>Courier New</vt:lpstr>
      <vt:lpstr>NewtonC</vt:lpstr>
      <vt:lpstr>Palatino Linotype</vt:lpstr>
      <vt:lpstr>Symbol</vt:lpstr>
      <vt:lpstr>Times New Roman</vt:lpstr>
      <vt:lpstr>Trebuchet MS</vt:lpstr>
      <vt:lpstr>Исполнительная</vt:lpstr>
      <vt:lpstr>Специальное оформление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 «Нашей новой школе» XXI века педагог-библиотекарь становится одной из ключевых фигур в процессе общего образования, проводником информационной культуры для учителей и учащихся, а школьная библиотека – площадкой для педагогических инноваций, комфортной образовательной средой для развития способностей учащихся и подготовки их к жизни. </vt:lpstr>
      <vt:lpstr>Презентация PowerPoint</vt:lpstr>
      <vt:lpstr>Презентация PowerPoint</vt:lpstr>
      <vt:lpstr>Презентация PowerPoint</vt:lpstr>
      <vt:lpstr>Презентация PowerPoint</vt:lpstr>
      <vt:lpstr>Национальный проект «Образование». Цели проект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Школьные библиотеки - точка трансформации российских школ  в свое новое качество – цифровые школы:</vt:lpstr>
      <vt:lpstr>Презентация PowerPoint</vt:lpstr>
      <vt:lpstr>Презентация PowerPoint</vt:lpstr>
      <vt:lpstr>Презентация PowerPoint</vt:lpstr>
      <vt:lpstr>Работа пилотной площадки  https://ur-l.ru/u11BA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аспорт проекта  «Читающая школа – читающая мама – читающая страна» </vt:lpstr>
      <vt:lpstr>Какую актуальную проблему адресует проект ? Каков масштаб проблемы? Приведите ключевые данные</vt:lpstr>
      <vt:lpstr>Какую актуальную проблему адресует проект ? Каков масштаб проблемы? Приведите ключевые данные</vt:lpstr>
      <vt:lpstr>Каковы целевые эффекты от реализации? Какие показатели изменятся, в какой мере?</vt:lpstr>
      <vt:lpstr>Краткое описание предлагаемого решения. </vt:lpstr>
      <vt:lpstr>На какие сегменты населения\рынка ориентирован проект и его продукт? Укажите размер целевой аудитории – текущий и в перспективе </vt:lpstr>
      <vt:lpstr>Какие материальные и нематериальные объекты, продукты и (или) услуги мы создадим в рамках проекта.  Краткосрочные и долгосрочные ключевые результаты проекта, описание их взаимосвязи. По возможности представьте в виде дерева продуктов</vt:lpstr>
      <vt:lpstr>Какие материальные и нематериальные объекты, продукты и (или) услуги мы создадим в рамках проекта.  Краткосрочные и долгосрочные ключевые результаты проекта, описание их взаимосвязи. По возможности представьте в виде дерева продуктов</vt:lpstr>
      <vt:lpstr>Чем ваш замысел отличается от аналогов и существующих решений?</vt:lpstr>
      <vt:lpstr>Идея ⟶ Наличие прототипа/макета/опытного образца ⟶ Наличие экспертизы/поддержки сообщества и спонсоров/договоренностей/ресурсной базы ⟶  Реализованный пилот или локальное внедрение ⟶ Готовность передачи в производство или тиражирование. </vt:lpstr>
      <vt:lpstr>Заказчик или лицо, выполняющее функцию заказчика (=владелец продукта, приёмщик результата проекта), функциональный заказчик (=пользователь продукта проекта), держатель бюджета, куратор, руководитель проекта, администратор проекта (если предусматривается), причастные заинтересованные стороны (стейкхолдеры).</vt:lpstr>
      <vt:lpstr>Основные этапы проекта, контрольные точки, ведущие к достижению промежуточных и конечных результатов.</vt:lpstr>
      <vt:lpstr>Источники финансирования, наличие команды, инфраструктура и т.д.</vt:lpstr>
      <vt:lpstr>Перечень ключевых рисков.</vt:lpstr>
      <vt:lpstr>По срокам, по стоимости, по технологиям, по безопасности, по географии и т.д. Изначальные ограничения должны быть учтены в плане действий</vt:lpstr>
      <vt:lpstr>    Какой рынок создает, развивает реализация проекта? Какой эффект даст реализация проекта вне системы заявителя, а не внутри нее?  Изменение поведения людей или функционирования объектов и систем, к которому приводит использование результата проекта?</vt:lpstr>
      <vt:lpstr>Презентация PowerPoint</vt:lpstr>
      <vt:lpstr>Презентация PowerPoint</vt:lpstr>
      <vt:lpstr>Презентация PowerPoint</vt:lpstr>
      <vt:lpstr>100 сказок о книге и чтении</vt:lpstr>
      <vt:lpstr>100 сказок о книге и чтен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ак отмечает И.И. Тихомирова, методическая система материнского чтения, разработанная В.П. Острогорским, на опыте которого училась и духовно развивалась вся Россия, сегодня нуждается в возрождении.  </vt:lpstr>
      <vt:lpstr>Презентация PowerPoint</vt:lpstr>
      <vt:lpstr>Презентация PowerPoint</vt:lpstr>
      <vt:lpstr>Презентация PowerPoint</vt:lpstr>
      <vt:lpstr>Школьная Библиотека</vt:lpstr>
      <vt:lpstr>Подписка на журнал «Школьная библиотека»</vt:lpstr>
      <vt:lpstr>Презентация PowerPoint</vt:lpstr>
      <vt:lpstr>Презентация PowerPoint</vt:lpstr>
      <vt:lpstr>Презентация PowerPoint</vt:lpstr>
      <vt:lpstr>Подписаться на издания РШБА можно с любого месяца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кольная Библиотека</dc:title>
  <dc:creator>Андрей Багинский</dc:creator>
  <cp:lastModifiedBy>user</cp:lastModifiedBy>
  <cp:revision>148</cp:revision>
  <cp:lastPrinted>2019-10-04T06:20:14Z</cp:lastPrinted>
  <dcterms:created xsi:type="dcterms:W3CDTF">2019-08-27T08:50:36Z</dcterms:created>
  <dcterms:modified xsi:type="dcterms:W3CDTF">2020-10-01T07:28:03Z</dcterms:modified>
</cp:coreProperties>
</file>